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4"/>
    <p:sldMasterId id="2147483866" r:id="rId5"/>
  </p:sldMasterIdLst>
  <p:notesMasterIdLst>
    <p:notesMasterId r:id="rId51"/>
  </p:notesMasterIdLst>
  <p:handoutMasterIdLst>
    <p:handoutMasterId r:id="rId52"/>
  </p:handoutMasterIdLst>
  <p:sldIdLst>
    <p:sldId id="256" r:id="rId6"/>
    <p:sldId id="295" r:id="rId7"/>
    <p:sldId id="296" r:id="rId8"/>
    <p:sldId id="297" r:id="rId9"/>
    <p:sldId id="1385" r:id="rId10"/>
    <p:sldId id="298" r:id="rId11"/>
    <p:sldId id="4605" r:id="rId12"/>
    <p:sldId id="299" r:id="rId13"/>
    <p:sldId id="301" r:id="rId14"/>
    <p:sldId id="302" r:id="rId15"/>
    <p:sldId id="1413" r:id="rId16"/>
    <p:sldId id="4607" r:id="rId17"/>
    <p:sldId id="303" r:id="rId18"/>
    <p:sldId id="1387" r:id="rId19"/>
    <p:sldId id="1389" r:id="rId20"/>
    <p:sldId id="1390" r:id="rId21"/>
    <p:sldId id="1425" r:id="rId22"/>
    <p:sldId id="1426" r:id="rId23"/>
    <p:sldId id="4621" r:id="rId24"/>
    <p:sldId id="1431" r:id="rId25"/>
    <p:sldId id="1427" r:id="rId26"/>
    <p:sldId id="1398" r:id="rId27"/>
    <p:sldId id="4920" r:id="rId28"/>
    <p:sldId id="306" r:id="rId29"/>
    <p:sldId id="307" r:id="rId30"/>
    <p:sldId id="1523" r:id="rId31"/>
    <p:sldId id="1518" r:id="rId32"/>
    <p:sldId id="1436" r:id="rId33"/>
    <p:sldId id="1537" r:id="rId34"/>
    <p:sldId id="4921" r:id="rId35"/>
    <p:sldId id="4622" r:id="rId36"/>
    <p:sldId id="1530" r:id="rId37"/>
    <p:sldId id="4618" r:id="rId38"/>
    <p:sldId id="1531" r:id="rId39"/>
    <p:sldId id="4922" r:id="rId40"/>
    <p:sldId id="4616" r:id="rId41"/>
    <p:sldId id="1524" r:id="rId42"/>
    <p:sldId id="1525" r:id="rId43"/>
    <p:sldId id="1526" r:id="rId44"/>
    <p:sldId id="4619" r:id="rId45"/>
    <p:sldId id="4620" r:id="rId46"/>
    <p:sldId id="1533" r:id="rId47"/>
    <p:sldId id="4925" r:id="rId48"/>
    <p:sldId id="4617" r:id="rId49"/>
    <p:sldId id="1536" r:id="rId50"/>
  </p:sldIdLst>
  <p:sldSz cx="12192000" cy="6858000"/>
  <p:notesSz cx="6858000" cy="9144000"/>
  <p:custDataLst>
    <p:tags r:id="rId53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2341" userDrawn="1">
          <p15:clr>
            <a:srgbClr val="A4A3A4"/>
          </p15:clr>
        </p15:guide>
        <p15:guide id="7" pos="365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AD"/>
    <a:srgbClr val="12ABDB"/>
    <a:srgbClr val="FF304C"/>
    <a:srgbClr val="12AADA"/>
    <a:srgbClr val="0F999C"/>
    <a:srgbClr val="6D64CC"/>
    <a:srgbClr val="C7FF17"/>
    <a:srgbClr val="CC2980"/>
    <a:srgbClr val="80B8D6"/>
    <a:srgbClr val="88D5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392FE2-CC17-47BC-891C-9DEBA97DCF8E}" v="16" dt="2019-10-03T16:47:44.0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82" autoAdjust="0"/>
    <p:restoredTop sz="84731" autoAdjust="0"/>
  </p:normalViewPr>
  <p:slideViewPr>
    <p:cSldViewPr>
      <p:cViewPr varScale="1">
        <p:scale>
          <a:sx n="91" d="100"/>
          <a:sy n="91" d="100"/>
        </p:scale>
        <p:origin x="1720" y="184"/>
      </p:cViewPr>
      <p:guideLst>
        <p:guide orient="horz" pos="2341"/>
        <p:guide pos="36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122" d="100"/>
          <a:sy n="122" d="100"/>
        </p:scale>
        <p:origin x="500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ags" Target="tags/tag1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ableStyles" Target="tableStyle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97135D-70FE-466C-B6EB-FAE3DAB30054}" type="doc">
      <dgm:prSet loTypeId="urn:microsoft.com/office/officeart/2008/layout/AlternatingHexagons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88F29275-9F1A-4156-BEE5-557371A89EF4}">
      <dgm:prSet phldrT="[Text]" phldr="1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solidFill>
            <a:srgbClr val="12AADA"/>
          </a:solidFill>
        </a:ln>
      </dgm:spPr>
      <dgm:t>
        <a:bodyPr/>
        <a:lstStyle/>
        <a:p>
          <a:endParaRPr lang="en-US" sz="1800" dirty="0">
            <a:solidFill>
              <a:srgbClr val="FFFFFF"/>
            </a:solidFill>
          </a:endParaRPr>
        </a:p>
      </dgm:t>
    </dgm:pt>
    <dgm:pt modelId="{774C7865-8DDC-475E-9CC8-59374D18EB8B}" type="sibTrans" cxnId="{3CF7AF70-7EEB-49A8-834D-89490BEF17DF}">
      <dgm:prSet/>
      <dgm:spPr>
        <a:solidFill>
          <a:srgbClr val="12ABDB"/>
        </a:solidFill>
        <a:ln>
          <a:solidFill>
            <a:srgbClr val="12ABDB"/>
          </a:solidFill>
        </a:ln>
      </dgm:spPr>
      <dgm:t>
        <a:bodyPr/>
        <a:lstStyle/>
        <a:p>
          <a:r>
            <a:rPr lang="en-US" dirty="0"/>
            <a:t>#Technology Leaders</a:t>
          </a:r>
        </a:p>
      </dgm:t>
    </dgm:pt>
    <dgm:pt modelId="{833E9760-E1A9-4493-9905-48F52AA89718}" type="parTrans" cxnId="{3CF7AF70-7EEB-49A8-834D-89490BEF17DF}">
      <dgm:prSet/>
      <dgm:spPr/>
      <dgm:t>
        <a:bodyPr/>
        <a:lstStyle/>
        <a:p>
          <a:endParaRPr lang="en-US" sz="1800">
            <a:solidFill>
              <a:srgbClr val="FFFFFF"/>
            </a:solidFill>
          </a:endParaRPr>
        </a:p>
      </dgm:t>
    </dgm:pt>
    <dgm:pt modelId="{B079C1C4-8BDC-4AB8-9142-EFD55F882960}">
      <dgm:prSet phldrT="[Text]" custT="1"/>
      <dgm:spPr>
        <a:solidFill>
          <a:srgbClr val="12AADA"/>
        </a:solidFill>
        <a:ln>
          <a:solidFill>
            <a:srgbClr val="12AADA"/>
          </a:solidFill>
        </a:ln>
      </dgm:spPr>
      <dgm:t>
        <a:bodyPr/>
        <a:lstStyle/>
        <a:p>
          <a:r>
            <a:rPr lang="en-US" sz="1800" dirty="0"/>
            <a:t>Architect</a:t>
          </a:r>
        </a:p>
      </dgm:t>
    </dgm:pt>
    <dgm:pt modelId="{65B86CDC-B06F-47FB-B903-8201F2723A8B}" type="sibTrans" cxnId="{42FE8D5E-2097-4147-BC31-1D5B01CCE239}">
      <dgm:prSet custT="1"/>
      <dgm:spPr>
        <a:solidFill>
          <a:srgbClr val="12AADA"/>
        </a:solidFill>
        <a:ln>
          <a:solidFill>
            <a:srgbClr val="12AADA"/>
          </a:solidFill>
        </a:ln>
      </dgm:spPr>
      <dgm:t>
        <a:bodyPr/>
        <a:lstStyle/>
        <a:p>
          <a:r>
            <a:rPr lang="en-US" sz="1800" dirty="0"/>
            <a:t>ALM </a:t>
          </a:r>
        </a:p>
        <a:p>
          <a:r>
            <a:rPr lang="en-US" sz="1800" dirty="0"/>
            <a:t>Ranger</a:t>
          </a:r>
        </a:p>
      </dgm:t>
    </dgm:pt>
    <dgm:pt modelId="{2689C91A-71F6-4B75-BE0C-BE55D4B63CDD}" type="parTrans" cxnId="{42FE8D5E-2097-4147-BC31-1D5B01CCE239}">
      <dgm:prSet/>
      <dgm:spPr/>
      <dgm:t>
        <a:bodyPr/>
        <a:lstStyle/>
        <a:p>
          <a:endParaRPr lang="en-US" sz="1800">
            <a:solidFill>
              <a:srgbClr val="FFFFFF"/>
            </a:solidFill>
          </a:endParaRPr>
        </a:p>
      </dgm:t>
    </dgm:pt>
    <dgm:pt modelId="{37D85F2A-A0B5-4115-A4C5-2854D97DF3B9}">
      <dgm:prSet phldrT="[Text]" custT="1"/>
      <dgm:spPr/>
      <dgm:t>
        <a:bodyPr/>
        <a:lstStyle/>
        <a:p>
          <a:endParaRPr lang="en-US" sz="1800" dirty="0">
            <a:solidFill>
              <a:srgbClr val="FFFFFF"/>
            </a:solidFill>
          </a:endParaRPr>
        </a:p>
      </dgm:t>
    </dgm:pt>
    <dgm:pt modelId="{27358CF8-65FB-4656-A5AF-B890B602BBC4}" type="sibTrans" cxnId="{D264A423-CCF6-4665-90CB-0AD670A234A2}">
      <dgm:prSet custT="1"/>
      <dgm:spPr>
        <a:solidFill>
          <a:srgbClr val="12AADA"/>
        </a:solidFill>
        <a:ln>
          <a:solidFill>
            <a:srgbClr val="12AADA"/>
          </a:solidFill>
        </a:ln>
      </dgm:spPr>
      <dgm:t>
        <a:bodyPr/>
        <a:lstStyle/>
        <a:p>
          <a:r>
            <a:rPr lang="en-US" sz="1800" dirty="0"/>
            <a:t>Blogger</a:t>
          </a:r>
        </a:p>
      </dgm:t>
    </dgm:pt>
    <dgm:pt modelId="{A98C599A-F12B-4C7E-8C0B-F792C2BD1DF1}" type="parTrans" cxnId="{D264A423-CCF6-4665-90CB-0AD670A234A2}">
      <dgm:prSet/>
      <dgm:spPr/>
      <dgm:t>
        <a:bodyPr/>
        <a:lstStyle/>
        <a:p>
          <a:endParaRPr lang="en-US" sz="1800">
            <a:solidFill>
              <a:srgbClr val="FFFFFF"/>
            </a:solidFill>
          </a:endParaRPr>
        </a:p>
      </dgm:t>
    </dgm:pt>
    <dgm:pt modelId="{CA98B9D5-D234-466E-8840-4978F7AC29D7}" type="pres">
      <dgm:prSet presAssocID="{9C97135D-70FE-466C-B6EB-FAE3DAB30054}" presName="Name0" presStyleCnt="0">
        <dgm:presLayoutVars>
          <dgm:chMax/>
          <dgm:chPref/>
          <dgm:dir/>
          <dgm:animLvl val="lvl"/>
        </dgm:presLayoutVars>
      </dgm:prSet>
      <dgm:spPr/>
    </dgm:pt>
    <dgm:pt modelId="{62C2BDE6-D446-4989-BE11-ACAA4084C9EB}" type="pres">
      <dgm:prSet presAssocID="{37D85F2A-A0B5-4115-A4C5-2854D97DF3B9}" presName="composite" presStyleCnt="0"/>
      <dgm:spPr/>
    </dgm:pt>
    <dgm:pt modelId="{8889B9E2-DFA6-4A4E-8616-8720620EC593}" type="pres">
      <dgm:prSet presAssocID="{37D85F2A-A0B5-4115-A4C5-2854D97DF3B9}" presName="Parent1" presStyleLbl="node1" presStyleIdx="0" presStyleCnt="6" custAng="10615555" custFlipHor="0" custScaleX="5829" custScaleY="2065" custLinFactNeighborX="-97990" custLinFactNeighborY="-16549">
        <dgm:presLayoutVars>
          <dgm:chMax val="1"/>
          <dgm:chPref val="1"/>
          <dgm:bulletEnabled val="1"/>
        </dgm:presLayoutVars>
      </dgm:prSet>
      <dgm:spPr/>
    </dgm:pt>
    <dgm:pt modelId="{CDE55AC1-4B1B-41CE-9231-AEFBD5EE22A1}" type="pres">
      <dgm:prSet presAssocID="{37D85F2A-A0B5-4115-A4C5-2854D97DF3B9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1729DCFF-C723-4FD4-B4B3-E51D7A3CFB93}" type="pres">
      <dgm:prSet presAssocID="{37D85F2A-A0B5-4115-A4C5-2854D97DF3B9}" presName="BalanceSpacing" presStyleCnt="0"/>
      <dgm:spPr/>
    </dgm:pt>
    <dgm:pt modelId="{4431DC96-5FFF-4CA4-9426-F89AA4550C5C}" type="pres">
      <dgm:prSet presAssocID="{37D85F2A-A0B5-4115-A4C5-2854D97DF3B9}" presName="BalanceSpacing1" presStyleCnt="0"/>
      <dgm:spPr/>
    </dgm:pt>
    <dgm:pt modelId="{66B8E277-6EAF-4BFF-B08A-85CB8608D4BB}" type="pres">
      <dgm:prSet presAssocID="{27358CF8-65FB-4656-A5AF-B890B602BBC4}" presName="Accent1Text" presStyleLbl="node1" presStyleIdx="1" presStyleCnt="6"/>
      <dgm:spPr/>
    </dgm:pt>
    <dgm:pt modelId="{1C36A6FD-F940-448F-810A-AED4345D6FB4}" type="pres">
      <dgm:prSet presAssocID="{27358CF8-65FB-4656-A5AF-B890B602BBC4}" presName="spaceBetweenRectangles" presStyleCnt="0"/>
      <dgm:spPr/>
    </dgm:pt>
    <dgm:pt modelId="{862DEF3C-D8C5-473F-848C-9CA22AC5A8F4}" type="pres">
      <dgm:prSet presAssocID="{B079C1C4-8BDC-4AB8-9142-EFD55F882960}" presName="composite" presStyleCnt="0"/>
      <dgm:spPr/>
    </dgm:pt>
    <dgm:pt modelId="{A13E5C9C-6301-404A-9CC7-9A969982D82B}" type="pres">
      <dgm:prSet presAssocID="{B079C1C4-8BDC-4AB8-9142-EFD55F882960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9775598B-0CB0-4B1C-A723-12D6BE7C8119}" type="pres">
      <dgm:prSet presAssocID="{B079C1C4-8BDC-4AB8-9142-EFD55F882960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51B78839-3784-45A1-BC09-C055AA8F5DC8}" type="pres">
      <dgm:prSet presAssocID="{B079C1C4-8BDC-4AB8-9142-EFD55F882960}" presName="BalanceSpacing" presStyleCnt="0"/>
      <dgm:spPr/>
    </dgm:pt>
    <dgm:pt modelId="{549F31F6-79C6-48DB-A5C9-1FF00F0C2EC3}" type="pres">
      <dgm:prSet presAssocID="{B079C1C4-8BDC-4AB8-9142-EFD55F882960}" presName="BalanceSpacing1" presStyleCnt="0"/>
      <dgm:spPr/>
    </dgm:pt>
    <dgm:pt modelId="{D58B1087-490D-46DC-946C-2EE25FD275AC}" type="pres">
      <dgm:prSet presAssocID="{65B86CDC-B06F-47FB-B903-8201F2723A8B}" presName="Accent1Text" presStyleLbl="node1" presStyleIdx="3" presStyleCnt="6"/>
      <dgm:spPr/>
    </dgm:pt>
    <dgm:pt modelId="{FFCD8EBF-7939-4A9F-80AA-B7A889A2EC33}" type="pres">
      <dgm:prSet presAssocID="{65B86CDC-B06F-47FB-B903-8201F2723A8B}" presName="spaceBetweenRectangles" presStyleCnt="0"/>
      <dgm:spPr/>
    </dgm:pt>
    <dgm:pt modelId="{43DA3F6A-E2BB-47C8-BB4D-10B41B640282}" type="pres">
      <dgm:prSet presAssocID="{88F29275-9F1A-4156-BEE5-557371A89EF4}" presName="composite" presStyleCnt="0"/>
      <dgm:spPr/>
    </dgm:pt>
    <dgm:pt modelId="{4018814A-90A1-426F-82F8-AEE6739B1356}" type="pres">
      <dgm:prSet presAssocID="{88F29275-9F1A-4156-BEE5-557371A89EF4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D2AF450F-BF90-46E2-B0EA-3344F22335A8}" type="pres">
      <dgm:prSet presAssocID="{88F29275-9F1A-4156-BEE5-557371A89EF4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E9E45A9F-02A6-48D8-A88E-86C55742158D}" type="pres">
      <dgm:prSet presAssocID="{88F29275-9F1A-4156-BEE5-557371A89EF4}" presName="BalanceSpacing" presStyleCnt="0"/>
      <dgm:spPr/>
    </dgm:pt>
    <dgm:pt modelId="{5CD3E480-DBEA-41E8-B0B9-DFF650E10540}" type="pres">
      <dgm:prSet presAssocID="{88F29275-9F1A-4156-BEE5-557371A89EF4}" presName="BalanceSpacing1" presStyleCnt="0"/>
      <dgm:spPr/>
    </dgm:pt>
    <dgm:pt modelId="{D1A2AD3E-81DC-4761-9BA4-69B6F243CB05}" type="pres">
      <dgm:prSet presAssocID="{774C7865-8DDC-475E-9CC8-59374D18EB8B}" presName="Accent1Text" presStyleLbl="node1" presStyleIdx="5" presStyleCnt="6"/>
      <dgm:spPr/>
    </dgm:pt>
  </dgm:ptLst>
  <dgm:cxnLst>
    <dgm:cxn modelId="{21765904-DE98-45D6-8CBD-6CA41AD918AC}" type="presOf" srcId="{B079C1C4-8BDC-4AB8-9142-EFD55F882960}" destId="{A13E5C9C-6301-404A-9CC7-9A969982D82B}" srcOrd="0" destOrd="0" presId="urn:microsoft.com/office/officeart/2008/layout/AlternatingHexagons"/>
    <dgm:cxn modelId="{D264A423-CCF6-4665-90CB-0AD670A234A2}" srcId="{9C97135D-70FE-466C-B6EB-FAE3DAB30054}" destId="{37D85F2A-A0B5-4115-A4C5-2854D97DF3B9}" srcOrd="0" destOrd="0" parTransId="{A98C599A-F12B-4C7E-8C0B-F792C2BD1DF1}" sibTransId="{27358CF8-65FB-4656-A5AF-B890B602BBC4}"/>
    <dgm:cxn modelId="{67FC3434-A1F4-4DE5-808B-B7700334D52A}" type="presOf" srcId="{27358CF8-65FB-4656-A5AF-B890B602BBC4}" destId="{66B8E277-6EAF-4BFF-B08A-85CB8608D4BB}" srcOrd="0" destOrd="0" presId="urn:microsoft.com/office/officeart/2008/layout/AlternatingHexagons"/>
    <dgm:cxn modelId="{EAA0C13A-49DE-42B5-AC5D-78F7584DEDAE}" type="presOf" srcId="{37D85F2A-A0B5-4115-A4C5-2854D97DF3B9}" destId="{8889B9E2-DFA6-4A4E-8616-8720620EC593}" srcOrd="0" destOrd="0" presId="urn:microsoft.com/office/officeart/2008/layout/AlternatingHexagons"/>
    <dgm:cxn modelId="{6CE2EB48-ED6C-4B4E-813B-2B777187C363}" type="presOf" srcId="{88F29275-9F1A-4156-BEE5-557371A89EF4}" destId="{4018814A-90A1-426F-82F8-AEE6739B1356}" srcOrd="0" destOrd="0" presId="urn:microsoft.com/office/officeart/2008/layout/AlternatingHexagons"/>
    <dgm:cxn modelId="{42FE8D5E-2097-4147-BC31-1D5B01CCE239}" srcId="{9C97135D-70FE-466C-B6EB-FAE3DAB30054}" destId="{B079C1C4-8BDC-4AB8-9142-EFD55F882960}" srcOrd="1" destOrd="0" parTransId="{2689C91A-71F6-4B75-BE0C-BE55D4B63CDD}" sibTransId="{65B86CDC-B06F-47FB-B903-8201F2723A8B}"/>
    <dgm:cxn modelId="{3CF7AF70-7EEB-49A8-834D-89490BEF17DF}" srcId="{9C97135D-70FE-466C-B6EB-FAE3DAB30054}" destId="{88F29275-9F1A-4156-BEE5-557371A89EF4}" srcOrd="2" destOrd="0" parTransId="{833E9760-E1A9-4493-9905-48F52AA89718}" sibTransId="{774C7865-8DDC-475E-9CC8-59374D18EB8B}"/>
    <dgm:cxn modelId="{FFDE9E80-E090-4C53-A7D1-AC0083F8EE9F}" type="presOf" srcId="{65B86CDC-B06F-47FB-B903-8201F2723A8B}" destId="{D58B1087-490D-46DC-946C-2EE25FD275AC}" srcOrd="0" destOrd="0" presId="urn:microsoft.com/office/officeart/2008/layout/AlternatingHexagons"/>
    <dgm:cxn modelId="{0F181EA6-82DA-44FB-A161-B90EE2641429}" type="presOf" srcId="{774C7865-8DDC-475E-9CC8-59374D18EB8B}" destId="{D1A2AD3E-81DC-4761-9BA4-69B6F243CB05}" srcOrd="0" destOrd="0" presId="urn:microsoft.com/office/officeart/2008/layout/AlternatingHexagons"/>
    <dgm:cxn modelId="{2C6AA6BE-7178-4532-8CAB-A9354DDC8E41}" type="presOf" srcId="{9C97135D-70FE-466C-B6EB-FAE3DAB30054}" destId="{CA98B9D5-D234-466E-8840-4978F7AC29D7}" srcOrd="0" destOrd="0" presId="urn:microsoft.com/office/officeart/2008/layout/AlternatingHexagons"/>
    <dgm:cxn modelId="{9B5DFE12-5DC8-439E-87FC-8C0CBE625B9A}" type="presParOf" srcId="{CA98B9D5-D234-466E-8840-4978F7AC29D7}" destId="{62C2BDE6-D446-4989-BE11-ACAA4084C9EB}" srcOrd="0" destOrd="0" presId="urn:microsoft.com/office/officeart/2008/layout/AlternatingHexagons"/>
    <dgm:cxn modelId="{40DE919E-378C-41AA-835B-91873D69A241}" type="presParOf" srcId="{62C2BDE6-D446-4989-BE11-ACAA4084C9EB}" destId="{8889B9E2-DFA6-4A4E-8616-8720620EC593}" srcOrd="0" destOrd="0" presId="urn:microsoft.com/office/officeart/2008/layout/AlternatingHexagons"/>
    <dgm:cxn modelId="{C95C05D5-CB3B-460E-8BA9-6DBE1F5F127C}" type="presParOf" srcId="{62C2BDE6-D446-4989-BE11-ACAA4084C9EB}" destId="{CDE55AC1-4B1B-41CE-9231-AEFBD5EE22A1}" srcOrd="1" destOrd="0" presId="urn:microsoft.com/office/officeart/2008/layout/AlternatingHexagons"/>
    <dgm:cxn modelId="{D2A4232A-005C-4127-A948-E6B3EA61A867}" type="presParOf" srcId="{62C2BDE6-D446-4989-BE11-ACAA4084C9EB}" destId="{1729DCFF-C723-4FD4-B4B3-E51D7A3CFB93}" srcOrd="2" destOrd="0" presId="urn:microsoft.com/office/officeart/2008/layout/AlternatingHexagons"/>
    <dgm:cxn modelId="{3D9C711F-A9F8-477E-A521-320D0AC4612B}" type="presParOf" srcId="{62C2BDE6-D446-4989-BE11-ACAA4084C9EB}" destId="{4431DC96-5FFF-4CA4-9426-F89AA4550C5C}" srcOrd="3" destOrd="0" presId="urn:microsoft.com/office/officeart/2008/layout/AlternatingHexagons"/>
    <dgm:cxn modelId="{C6416166-141B-4BB0-9896-3757499E8EB0}" type="presParOf" srcId="{62C2BDE6-D446-4989-BE11-ACAA4084C9EB}" destId="{66B8E277-6EAF-4BFF-B08A-85CB8608D4BB}" srcOrd="4" destOrd="0" presId="urn:microsoft.com/office/officeart/2008/layout/AlternatingHexagons"/>
    <dgm:cxn modelId="{418D8268-E1E0-42AB-B9F0-1EE8A76BAADC}" type="presParOf" srcId="{CA98B9D5-D234-466E-8840-4978F7AC29D7}" destId="{1C36A6FD-F940-448F-810A-AED4345D6FB4}" srcOrd="1" destOrd="0" presId="urn:microsoft.com/office/officeart/2008/layout/AlternatingHexagons"/>
    <dgm:cxn modelId="{1C4A0289-486F-4242-B2E2-EBA2653ECC05}" type="presParOf" srcId="{CA98B9D5-D234-466E-8840-4978F7AC29D7}" destId="{862DEF3C-D8C5-473F-848C-9CA22AC5A8F4}" srcOrd="2" destOrd="0" presId="urn:microsoft.com/office/officeart/2008/layout/AlternatingHexagons"/>
    <dgm:cxn modelId="{1D6CEBB6-351A-4B2B-8804-681B2F6F191B}" type="presParOf" srcId="{862DEF3C-D8C5-473F-848C-9CA22AC5A8F4}" destId="{A13E5C9C-6301-404A-9CC7-9A969982D82B}" srcOrd="0" destOrd="0" presId="urn:microsoft.com/office/officeart/2008/layout/AlternatingHexagons"/>
    <dgm:cxn modelId="{0C59093D-CADA-4308-8F2F-DA4305CC07DC}" type="presParOf" srcId="{862DEF3C-D8C5-473F-848C-9CA22AC5A8F4}" destId="{9775598B-0CB0-4B1C-A723-12D6BE7C8119}" srcOrd="1" destOrd="0" presId="urn:microsoft.com/office/officeart/2008/layout/AlternatingHexagons"/>
    <dgm:cxn modelId="{528EDC2E-6690-4BD9-94AC-05D2B9C7988C}" type="presParOf" srcId="{862DEF3C-D8C5-473F-848C-9CA22AC5A8F4}" destId="{51B78839-3784-45A1-BC09-C055AA8F5DC8}" srcOrd="2" destOrd="0" presId="urn:microsoft.com/office/officeart/2008/layout/AlternatingHexagons"/>
    <dgm:cxn modelId="{9B884065-8C60-4743-8118-8C842A01A276}" type="presParOf" srcId="{862DEF3C-D8C5-473F-848C-9CA22AC5A8F4}" destId="{549F31F6-79C6-48DB-A5C9-1FF00F0C2EC3}" srcOrd="3" destOrd="0" presId="urn:microsoft.com/office/officeart/2008/layout/AlternatingHexagons"/>
    <dgm:cxn modelId="{928553D2-E53A-48E2-9FAF-F09A1866F402}" type="presParOf" srcId="{862DEF3C-D8C5-473F-848C-9CA22AC5A8F4}" destId="{D58B1087-490D-46DC-946C-2EE25FD275AC}" srcOrd="4" destOrd="0" presId="urn:microsoft.com/office/officeart/2008/layout/AlternatingHexagons"/>
    <dgm:cxn modelId="{60A972A0-8CAB-4E48-AD3B-9E23EC167436}" type="presParOf" srcId="{CA98B9D5-D234-466E-8840-4978F7AC29D7}" destId="{FFCD8EBF-7939-4A9F-80AA-B7A889A2EC33}" srcOrd="3" destOrd="0" presId="urn:microsoft.com/office/officeart/2008/layout/AlternatingHexagons"/>
    <dgm:cxn modelId="{54B4C990-C3E8-49AC-B33A-8169B9AF52E3}" type="presParOf" srcId="{CA98B9D5-D234-466E-8840-4978F7AC29D7}" destId="{43DA3F6A-E2BB-47C8-BB4D-10B41B640282}" srcOrd="4" destOrd="0" presId="urn:microsoft.com/office/officeart/2008/layout/AlternatingHexagons"/>
    <dgm:cxn modelId="{91FE9F50-781A-437E-82E6-16ADB9FD5930}" type="presParOf" srcId="{43DA3F6A-E2BB-47C8-BB4D-10B41B640282}" destId="{4018814A-90A1-426F-82F8-AEE6739B1356}" srcOrd="0" destOrd="0" presId="urn:microsoft.com/office/officeart/2008/layout/AlternatingHexagons"/>
    <dgm:cxn modelId="{F4A7B59F-0426-48EE-87D5-C8705AAC254F}" type="presParOf" srcId="{43DA3F6A-E2BB-47C8-BB4D-10B41B640282}" destId="{D2AF450F-BF90-46E2-B0EA-3344F22335A8}" srcOrd="1" destOrd="0" presId="urn:microsoft.com/office/officeart/2008/layout/AlternatingHexagons"/>
    <dgm:cxn modelId="{296A0D0A-09FB-45B9-967F-06A383C4526E}" type="presParOf" srcId="{43DA3F6A-E2BB-47C8-BB4D-10B41B640282}" destId="{E9E45A9F-02A6-48D8-A88E-86C55742158D}" srcOrd="2" destOrd="0" presId="urn:microsoft.com/office/officeart/2008/layout/AlternatingHexagons"/>
    <dgm:cxn modelId="{D7BF9549-BBF0-425C-A6BA-CA890783C359}" type="presParOf" srcId="{43DA3F6A-E2BB-47C8-BB4D-10B41B640282}" destId="{5CD3E480-DBEA-41E8-B0B9-DFF650E10540}" srcOrd="3" destOrd="0" presId="urn:microsoft.com/office/officeart/2008/layout/AlternatingHexagons"/>
    <dgm:cxn modelId="{9A8A468D-02BD-406D-B035-A421DAE61B76}" type="presParOf" srcId="{43DA3F6A-E2BB-47C8-BB4D-10B41B640282}" destId="{D1A2AD3E-81DC-4761-9BA4-69B6F243CB05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ADCA1D8-35D8-4EE7-A33A-F7F12CAB49B7}" type="doc">
      <dgm:prSet loTypeId="urn:microsoft.com/office/officeart/2005/8/layout/process1" loCatId="process" qsTypeId="urn:microsoft.com/office/officeart/2005/8/quickstyle/simple1" qsCatId="simple" csTypeId="urn:microsoft.com/office/officeart/2005/8/colors/accent1_3" csCatId="accent1" phldr="1"/>
      <dgm:spPr/>
    </dgm:pt>
    <dgm:pt modelId="{D253D580-7D4C-4832-B55F-C060E21F1456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Server</a:t>
          </a:r>
        </a:p>
      </dgm:t>
    </dgm:pt>
    <dgm:pt modelId="{C42CEA3B-AF9D-4F97-835A-CFF3E4065E7E}" type="parTrans" cxnId="{2BFD19EF-AB56-41D7-9C71-0D75A0CEEC0D}">
      <dgm:prSet/>
      <dgm:spPr/>
      <dgm:t>
        <a:bodyPr/>
        <a:lstStyle/>
        <a:p>
          <a:endParaRPr lang="en-US"/>
        </a:p>
      </dgm:t>
    </dgm:pt>
    <dgm:pt modelId="{EAE3061A-A9E8-40AC-A770-BD0A5248F0E7}" type="sibTrans" cxnId="{2BFD19EF-AB56-41D7-9C71-0D75A0CEEC0D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BF4045B4-39E1-4471-A489-F304F886261C}">
      <dgm:prSet/>
      <dgm:spPr>
        <a:solidFill>
          <a:srgbClr val="0A71B4"/>
        </a:solidFill>
      </dgm:spPr>
      <dgm:t>
        <a:bodyPr/>
        <a:lstStyle/>
        <a:p>
          <a:r>
            <a:rPr lang="en-US" dirty="0"/>
            <a:t>Services</a:t>
          </a:r>
        </a:p>
      </dgm:t>
    </dgm:pt>
    <dgm:pt modelId="{4787A906-F0C0-4F52-8209-55E1130A1F1C}" type="parTrans" cxnId="{D91DBBE5-DBDC-4C5B-835B-7C323B7E6877}">
      <dgm:prSet/>
      <dgm:spPr/>
      <dgm:t>
        <a:bodyPr/>
        <a:lstStyle/>
        <a:p>
          <a:endParaRPr lang="en-US"/>
        </a:p>
      </dgm:t>
    </dgm:pt>
    <dgm:pt modelId="{99AE0FD7-D3DD-421B-AA18-69A2BFFCE9AA}" type="sibTrans" cxnId="{D91DBBE5-DBDC-4C5B-835B-7C323B7E6877}">
      <dgm:prSet/>
      <dgm:spPr/>
      <dgm:t>
        <a:bodyPr/>
        <a:lstStyle/>
        <a:p>
          <a:endParaRPr lang="en-US"/>
        </a:p>
      </dgm:t>
    </dgm:pt>
    <dgm:pt modelId="{302B6652-96BE-4C8D-B496-84D2EBA246CC}" type="pres">
      <dgm:prSet presAssocID="{AADCA1D8-35D8-4EE7-A33A-F7F12CAB49B7}" presName="Name0" presStyleCnt="0">
        <dgm:presLayoutVars>
          <dgm:dir/>
          <dgm:resizeHandles val="exact"/>
        </dgm:presLayoutVars>
      </dgm:prSet>
      <dgm:spPr/>
    </dgm:pt>
    <dgm:pt modelId="{333DD557-212A-4F88-A2D2-8F46D18FA406}" type="pres">
      <dgm:prSet presAssocID="{D253D580-7D4C-4832-B55F-C060E21F1456}" presName="node" presStyleLbl="node1" presStyleIdx="0" presStyleCnt="2" custScaleY="82645" custLinFactNeighborY="1743">
        <dgm:presLayoutVars>
          <dgm:bulletEnabled val="1"/>
        </dgm:presLayoutVars>
      </dgm:prSet>
      <dgm:spPr/>
    </dgm:pt>
    <dgm:pt modelId="{41BDED45-F440-480C-93D3-44A2E4BEB1C1}" type="pres">
      <dgm:prSet presAssocID="{EAE3061A-A9E8-40AC-A770-BD0A5248F0E7}" presName="sibTrans" presStyleLbl="sibTrans2D1" presStyleIdx="0" presStyleCnt="1"/>
      <dgm:spPr/>
    </dgm:pt>
    <dgm:pt modelId="{20DB845F-1F6D-4CF2-8FAC-259D8A6C96AB}" type="pres">
      <dgm:prSet presAssocID="{EAE3061A-A9E8-40AC-A770-BD0A5248F0E7}" presName="connectorText" presStyleLbl="sibTrans2D1" presStyleIdx="0" presStyleCnt="1"/>
      <dgm:spPr/>
    </dgm:pt>
    <dgm:pt modelId="{4670A24E-F5CB-4130-A0E1-E9F2A83EAA9A}" type="pres">
      <dgm:prSet presAssocID="{BF4045B4-39E1-4471-A489-F304F886261C}" presName="node" presStyleLbl="node1" presStyleIdx="1" presStyleCnt="2" custLinFactNeighborY="1743">
        <dgm:presLayoutVars>
          <dgm:bulletEnabled val="1"/>
        </dgm:presLayoutVars>
      </dgm:prSet>
      <dgm:spPr/>
    </dgm:pt>
  </dgm:ptLst>
  <dgm:cxnLst>
    <dgm:cxn modelId="{6842891F-E14C-4095-A51C-2EA3F19724F3}" type="presOf" srcId="{EAE3061A-A9E8-40AC-A770-BD0A5248F0E7}" destId="{41BDED45-F440-480C-93D3-44A2E4BEB1C1}" srcOrd="0" destOrd="0" presId="urn:microsoft.com/office/officeart/2005/8/layout/process1"/>
    <dgm:cxn modelId="{D090B164-25C3-450F-880D-365FBD671001}" type="presOf" srcId="{EAE3061A-A9E8-40AC-A770-BD0A5248F0E7}" destId="{20DB845F-1F6D-4CF2-8FAC-259D8A6C96AB}" srcOrd="1" destOrd="0" presId="urn:microsoft.com/office/officeart/2005/8/layout/process1"/>
    <dgm:cxn modelId="{35F6AEB3-615F-44D2-9A6C-D1A371E76771}" type="presOf" srcId="{AADCA1D8-35D8-4EE7-A33A-F7F12CAB49B7}" destId="{302B6652-96BE-4C8D-B496-84D2EBA246CC}" srcOrd="0" destOrd="0" presId="urn:microsoft.com/office/officeart/2005/8/layout/process1"/>
    <dgm:cxn modelId="{5DDF88BA-AC42-4AC8-9698-7EAA95B7AAC7}" type="presOf" srcId="{D253D580-7D4C-4832-B55F-C060E21F1456}" destId="{333DD557-212A-4F88-A2D2-8F46D18FA406}" srcOrd="0" destOrd="0" presId="urn:microsoft.com/office/officeart/2005/8/layout/process1"/>
    <dgm:cxn modelId="{D91DBBE5-DBDC-4C5B-835B-7C323B7E6877}" srcId="{AADCA1D8-35D8-4EE7-A33A-F7F12CAB49B7}" destId="{BF4045B4-39E1-4471-A489-F304F886261C}" srcOrd="1" destOrd="0" parTransId="{4787A906-F0C0-4F52-8209-55E1130A1F1C}" sibTransId="{99AE0FD7-D3DD-421B-AA18-69A2BFFCE9AA}"/>
    <dgm:cxn modelId="{F40BD3E6-98AE-46F4-B28C-C404CFBBADEF}" type="presOf" srcId="{BF4045B4-39E1-4471-A489-F304F886261C}" destId="{4670A24E-F5CB-4130-A0E1-E9F2A83EAA9A}" srcOrd="0" destOrd="0" presId="urn:microsoft.com/office/officeart/2005/8/layout/process1"/>
    <dgm:cxn modelId="{2BFD19EF-AB56-41D7-9C71-0D75A0CEEC0D}" srcId="{AADCA1D8-35D8-4EE7-A33A-F7F12CAB49B7}" destId="{D253D580-7D4C-4832-B55F-C060E21F1456}" srcOrd="0" destOrd="0" parTransId="{C42CEA3B-AF9D-4F97-835A-CFF3E4065E7E}" sibTransId="{EAE3061A-A9E8-40AC-A770-BD0A5248F0E7}"/>
    <dgm:cxn modelId="{E9489EEA-693A-452D-943E-DB1C41428849}" type="presParOf" srcId="{302B6652-96BE-4C8D-B496-84D2EBA246CC}" destId="{333DD557-212A-4F88-A2D2-8F46D18FA406}" srcOrd="0" destOrd="0" presId="urn:microsoft.com/office/officeart/2005/8/layout/process1"/>
    <dgm:cxn modelId="{A9C5AE47-AECB-4388-9B04-D7610F802CA3}" type="presParOf" srcId="{302B6652-96BE-4C8D-B496-84D2EBA246CC}" destId="{41BDED45-F440-480C-93D3-44A2E4BEB1C1}" srcOrd="1" destOrd="0" presId="urn:microsoft.com/office/officeart/2005/8/layout/process1"/>
    <dgm:cxn modelId="{FDD49244-13E4-4F15-8245-93FAE29660C0}" type="presParOf" srcId="{41BDED45-F440-480C-93D3-44A2E4BEB1C1}" destId="{20DB845F-1F6D-4CF2-8FAC-259D8A6C96AB}" srcOrd="0" destOrd="0" presId="urn:microsoft.com/office/officeart/2005/8/layout/process1"/>
    <dgm:cxn modelId="{7FCA7637-8CC7-4767-ACC2-9BE65CE403A6}" type="presParOf" srcId="{302B6652-96BE-4C8D-B496-84D2EBA246CC}" destId="{4670A24E-F5CB-4130-A0E1-E9F2A83EAA9A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ADCA1D8-35D8-4EE7-A33A-F7F12CAB49B7}" type="doc">
      <dgm:prSet loTypeId="urn:microsoft.com/office/officeart/2005/8/layout/process1" loCatId="process" qsTypeId="urn:microsoft.com/office/officeart/2005/8/quickstyle/simple1" qsCatId="simple" csTypeId="urn:microsoft.com/office/officeart/2005/8/colors/accent1_3" csCatId="accent1" phldr="1"/>
      <dgm:spPr/>
    </dgm:pt>
    <dgm:pt modelId="{D253D580-7D4C-4832-B55F-C060E21F1456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Domain</a:t>
          </a:r>
        </a:p>
      </dgm:t>
    </dgm:pt>
    <dgm:pt modelId="{C42CEA3B-AF9D-4F97-835A-CFF3E4065E7E}" type="parTrans" cxnId="{2BFD19EF-AB56-41D7-9C71-0D75A0CEEC0D}">
      <dgm:prSet/>
      <dgm:spPr/>
      <dgm:t>
        <a:bodyPr/>
        <a:lstStyle/>
        <a:p>
          <a:endParaRPr lang="en-US"/>
        </a:p>
      </dgm:t>
    </dgm:pt>
    <dgm:pt modelId="{EAE3061A-A9E8-40AC-A770-BD0A5248F0E7}" type="sibTrans" cxnId="{2BFD19EF-AB56-41D7-9C71-0D75A0CEEC0D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BF4045B4-39E1-4471-A489-F304F886261C}">
      <dgm:prSet/>
      <dgm:spPr>
        <a:solidFill>
          <a:srgbClr val="0A71B4"/>
        </a:solidFill>
      </dgm:spPr>
      <dgm:t>
        <a:bodyPr/>
        <a:lstStyle/>
        <a:p>
          <a:r>
            <a:rPr lang="en-US" dirty="0"/>
            <a:t>Subscription</a:t>
          </a:r>
        </a:p>
      </dgm:t>
    </dgm:pt>
    <dgm:pt modelId="{4787A906-F0C0-4F52-8209-55E1130A1F1C}" type="parTrans" cxnId="{D91DBBE5-DBDC-4C5B-835B-7C323B7E6877}">
      <dgm:prSet/>
      <dgm:spPr/>
      <dgm:t>
        <a:bodyPr/>
        <a:lstStyle/>
        <a:p>
          <a:endParaRPr lang="en-US"/>
        </a:p>
      </dgm:t>
    </dgm:pt>
    <dgm:pt modelId="{99AE0FD7-D3DD-421B-AA18-69A2BFFCE9AA}" type="sibTrans" cxnId="{D91DBBE5-DBDC-4C5B-835B-7C323B7E6877}">
      <dgm:prSet/>
      <dgm:spPr/>
      <dgm:t>
        <a:bodyPr/>
        <a:lstStyle/>
        <a:p>
          <a:endParaRPr lang="en-US"/>
        </a:p>
      </dgm:t>
    </dgm:pt>
    <dgm:pt modelId="{302B6652-96BE-4C8D-B496-84D2EBA246CC}" type="pres">
      <dgm:prSet presAssocID="{AADCA1D8-35D8-4EE7-A33A-F7F12CAB49B7}" presName="Name0" presStyleCnt="0">
        <dgm:presLayoutVars>
          <dgm:dir/>
          <dgm:resizeHandles val="exact"/>
        </dgm:presLayoutVars>
      </dgm:prSet>
      <dgm:spPr/>
    </dgm:pt>
    <dgm:pt modelId="{333DD557-212A-4F88-A2D2-8F46D18FA406}" type="pres">
      <dgm:prSet presAssocID="{D253D580-7D4C-4832-B55F-C060E21F1456}" presName="node" presStyleLbl="node1" presStyleIdx="0" presStyleCnt="2">
        <dgm:presLayoutVars>
          <dgm:bulletEnabled val="1"/>
        </dgm:presLayoutVars>
      </dgm:prSet>
      <dgm:spPr/>
    </dgm:pt>
    <dgm:pt modelId="{41BDED45-F440-480C-93D3-44A2E4BEB1C1}" type="pres">
      <dgm:prSet presAssocID="{EAE3061A-A9E8-40AC-A770-BD0A5248F0E7}" presName="sibTrans" presStyleLbl="sibTrans2D1" presStyleIdx="0" presStyleCnt="1"/>
      <dgm:spPr/>
    </dgm:pt>
    <dgm:pt modelId="{20DB845F-1F6D-4CF2-8FAC-259D8A6C96AB}" type="pres">
      <dgm:prSet presAssocID="{EAE3061A-A9E8-40AC-A770-BD0A5248F0E7}" presName="connectorText" presStyleLbl="sibTrans2D1" presStyleIdx="0" presStyleCnt="1"/>
      <dgm:spPr/>
    </dgm:pt>
    <dgm:pt modelId="{4670A24E-F5CB-4130-A0E1-E9F2A83EAA9A}" type="pres">
      <dgm:prSet presAssocID="{BF4045B4-39E1-4471-A489-F304F886261C}" presName="node" presStyleLbl="node1" presStyleIdx="1" presStyleCnt="2">
        <dgm:presLayoutVars>
          <dgm:bulletEnabled val="1"/>
        </dgm:presLayoutVars>
      </dgm:prSet>
      <dgm:spPr/>
    </dgm:pt>
  </dgm:ptLst>
  <dgm:cxnLst>
    <dgm:cxn modelId="{6842891F-E14C-4095-A51C-2EA3F19724F3}" type="presOf" srcId="{EAE3061A-A9E8-40AC-A770-BD0A5248F0E7}" destId="{41BDED45-F440-480C-93D3-44A2E4BEB1C1}" srcOrd="0" destOrd="0" presId="urn:microsoft.com/office/officeart/2005/8/layout/process1"/>
    <dgm:cxn modelId="{D090B164-25C3-450F-880D-365FBD671001}" type="presOf" srcId="{EAE3061A-A9E8-40AC-A770-BD0A5248F0E7}" destId="{20DB845F-1F6D-4CF2-8FAC-259D8A6C96AB}" srcOrd="1" destOrd="0" presId="urn:microsoft.com/office/officeart/2005/8/layout/process1"/>
    <dgm:cxn modelId="{35F6AEB3-615F-44D2-9A6C-D1A371E76771}" type="presOf" srcId="{AADCA1D8-35D8-4EE7-A33A-F7F12CAB49B7}" destId="{302B6652-96BE-4C8D-B496-84D2EBA246CC}" srcOrd="0" destOrd="0" presId="urn:microsoft.com/office/officeart/2005/8/layout/process1"/>
    <dgm:cxn modelId="{5DDF88BA-AC42-4AC8-9698-7EAA95B7AAC7}" type="presOf" srcId="{D253D580-7D4C-4832-B55F-C060E21F1456}" destId="{333DD557-212A-4F88-A2D2-8F46D18FA406}" srcOrd="0" destOrd="0" presId="urn:microsoft.com/office/officeart/2005/8/layout/process1"/>
    <dgm:cxn modelId="{D91DBBE5-DBDC-4C5B-835B-7C323B7E6877}" srcId="{AADCA1D8-35D8-4EE7-A33A-F7F12CAB49B7}" destId="{BF4045B4-39E1-4471-A489-F304F886261C}" srcOrd="1" destOrd="0" parTransId="{4787A906-F0C0-4F52-8209-55E1130A1F1C}" sibTransId="{99AE0FD7-D3DD-421B-AA18-69A2BFFCE9AA}"/>
    <dgm:cxn modelId="{F40BD3E6-98AE-46F4-B28C-C404CFBBADEF}" type="presOf" srcId="{BF4045B4-39E1-4471-A489-F304F886261C}" destId="{4670A24E-F5CB-4130-A0E1-E9F2A83EAA9A}" srcOrd="0" destOrd="0" presId="urn:microsoft.com/office/officeart/2005/8/layout/process1"/>
    <dgm:cxn modelId="{2BFD19EF-AB56-41D7-9C71-0D75A0CEEC0D}" srcId="{AADCA1D8-35D8-4EE7-A33A-F7F12CAB49B7}" destId="{D253D580-7D4C-4832-B55F-C060E21F1456}" srcOrd="0" destOrd="0" parTransId="{C42CEA3B-AF9D-4F97-835A-CFF3E4065E7E}" sibTransId="{EAE3061A-A9E8-40AC-A770-BD0A5248F0E7}"/>
    <dgm:cxn modelId="{E9489EEA-693A-452D-943E-DB1C41428849}" type="presParOf" srcId="{302B6652-96BE-4C8D-B496-84D2EBA246CC}" destId="{333DD557-212A-4F88-A2D2-8F46D18FA406}" srcOrd="0" destOrd="0" presId="urn:microsoft.com/office/officeart/2005/8/layout/process1"/>
    <dgm:cxn modelId="{A9C5AE47-AECB-4388-9B04-D7610F802CA3}" type="presParOf" srcId="{302B6652-96BE-4C8D-B496-84D2EBA246CC}" destId="{41BDED45-F440-480C-93D3-44A2E4BEB1C1}" srcOrd="1" destOrd="0" presId="urn:microsoft.com/office/officeart/2005/8/layout/process1"/>
    <dgm:cxn modelId="{FDD49244-13E4-4F15-8245-93FAE29660C0}" type="presParOf" srcId="{41BDED45-F440-480C-93D3-44A2E4BEB1C1}" destId="{20DB845F-1F6D-4CF2-8FAC-259D8A6C96AB}" srcOrd="0" destOrd="0" presId="urn:microsoft.com/office/officeart/2005/8/layout/process1"/>
    <dgm:cxn modelId="{7FCA7637-8CC7-4767-ACC2-9BE65CE403A6}" type="presParOf" srcId="{302B6652-96BE-4C8D-B496-84D2EBA246CC}" destId="{4670A24E-F5CB-4130-A0E1-E9F2A83EAA9A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ADCA1D8-35D8-4EE7-A33A-F7F12CAB49B7}" type="doc">
      <dgm:prSet loTypeId="urn:microsoft.com/office/officeart/2005/8/layout/process1" loCatId="process" qsTypeId="urn:microsoft.com/office/officeart/2005/8/quickstyle/simple1" qsCatId="simple" csTypeId="urn:microsoft.com/office/officeart/2005/8/colors/accent1_3" csCatId="accent1" phldr="1"/>
      <dgm:spPr/>
    </dgm:pt>
    <dgm:pt modelId="{D253D580-7D4C-4832-B55F-C060E21F1456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Domain Admin</a:t>
          </a:r>
        </a:p>
      </dgm:t>
    </dgm:pt>
    <dgm:pt modelId="{C42CEA3B-AF9D-4F97-835A-CFF3E4065E7E}" type="parTrans" cxnId="{2BFD19EF-AB56-41D7-9C71-0D75A0CEEC0D}">
      <dgm:prSet/>
      <dgm:spPr/>
      <dgm:t>
        <a:bodyPr/>
        <a:lstStyle/>
        <a:p>
          <a:endParaRPr lang="en-US"/>
        </a:p>
      </dgm:t>
    </dgm:pt>
    <dgm:pt modelId="{EAE3061A-A9E8-40AC-A770-BD0A5248F0E7}" type="sibTrans" cxnId="{2BFD19EF-AB56-41D7-9C71-0D75A0CEEC0D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5AEB5959-F0E8-4B1E-9416-B4F9BB555082}">
      <dgm:prSet/>
      <dgm:spPr>
        <a:solidFill>
          <a:srgbClr val="0A71B4"/>
        </a:solidFill>
      </dgm:spPr>
      <dgm:t>
        <a:bodyPr/>
        <a:lstStyle/>
        <a:p>
          <a:r>
            <a:rPr lang="en-AU" dirty="0"/>
            <a:t>Subscription Admin</a:t>
          </a:r>
          <a:endParaRPr lang="en-US" dirty="0"/>
        </a:p>
      </dgm:t>
    </dgm:pt>
    <dgm:pt modelId="{E12A1B06-669A-4843-AD4D-B8175EF9A22D}" type="parTrans" cxnId="{0BCA9B6D-2941-4335-8938-515C21E42B85}">
      <dgm:prSet/>
      <dgm:spPr/>
      <dgm:t>
        <a:bodyPr/>
        <a:lstStyle/>
        <a:p>
          <a:endParaRPr lang="en-US"/>
        </a:p>
      </dgm:t>
    </dgm:pt>
    <dgm:pt modelId="{C4DF066A-2560-479B-8ED5-F115BC90E85C}" type="sibTrans" cxnId="{0BCA9B6D-2941-4335-8938-515C21E42B85}">
      <dgm:prSet/>
      <dgm:spPr/>
      <dgm:t>
        <a:bodyPr/>
        <a:lstStyle/>
        <a:p>
          <a:endParaRPr lang="en-US"/>
        </a:p>
      </dgm:t>
    </dgm:pt>
    <dgm:pt modelId="{302B6652-96BE-4C8D-B496-84D2EBA246CC}" type="pres">
      <dgm:prSet presAssocID="{AADCA1D8-35D8-4EE7-A33A-F7F12CAB49B7}" presName="Name0" presStyleCnt="0">
        <dgm:presLayoutVars>
          <dgm:dir/>
          <dgm:resizeHandles val="exact"/>
        </dgm:presLayoutVars>
      </dgm:prSet>
      <dgm:spPr/>
    </dgm:pt>
    <dgm:pt modelId="{333DD557-212A-4F88-A2D2-8F46D18FA406}" type="pres">
      <dgm:prSet presAssocID="{D253D580-7D4C-4832-B55F-C060E21F1456}" presName="node" presStyleLbl="node1" presStyleIdx="0" presStyleCnt="2">
        <dgm:presLayoutVars>
          <dgm:bulletEnabled val="1"/>
        </dgm:presLayoutVars>
      </dgm:prSet>
      <dgm:spPr/>
    </dgm:pt>
    <dgm:pt modelId="{D00C97FD-329B-4CB0-82B3-6E7E6F080DA2}" type="pres">
      <dgm:prSet presAssocID="{EAE3061A-A9E8-40AC-A770-BD0A5248F0E7}" presName="sibTrans" presStyleLbl="sibTrans2D1" presStyleIdx="0" presStyleCnt="1"/>
      <dgm:spPr/>
    </dgm:pt>
    <dgm:pt modelId="{FB7E8FBF-7C4F-4723-9DA9-2644B55721EC}" type="pres">
      <dgm:prSet presAssocID="{EAE3061A-A9E8-40AC-A770-BD0A5248F0E7}" presName="connectorText" presStyleLbl="sibTrans2D1" presStyleIdx="0" presStyleCnt="1"/>
      <dgm:spPr/>
    </dgm:pt>
    <dgm:pt modelId="{31F3C280-B930-4F86-BEEF-6FB5CC520CE3}" type="pres">
      <dgm:prSet presAssocID="{5AEB5959-F0E8-4B1E-9416-B4F9BB555082}" presName="node" presStyleLbl="node1" presStyleIdx="1" presStyleCnt="2">
        <dgm:presLayoutVars>
          <dgm:bulletEnabled val="1"/>
        </dgm:presLayoutVars>
      </dgm:prSet>
      <dgm:spPr/>
    </dgm:pt>
  </dgm:ptLst>
  <dgm:cxnLst>
    <dgm:cxn modelId="{1257A72F-93EB-49F4-A885-C0038BB831E7}" type="presOf" srcId="{5AEB5959-F0E8-4B1E-9416-B4F9BB555082}" destId="{31F3C280-B930-4F86-BEEF-6FB5CC520CE3}" srcOrd="0" destOrd="0" presId="urn:microsoft.com/office/officeart/2005/8/layout/process1"/>
    <dgm:cxn modelId="{0BCA9B6D-2941-4335-8938-515C21E42B85}" srcId="{AADCA1D8-35D8-4EE7-A33A-F7F12CAB49B7}" destId="{5AEB5959-F0E8-4B1E-9416-B4F9BB555082}" srcOrd="1" destOrd="0" parTransId="{E12A1B06-669A-4843-AD4D-B8175EF9A22D}" sibTransId="{C4DF066A-2560-479B-8ED5-F115BC90E85C}"/>
    <dgm:cxn modelId="{35F6AEB3-615F-44D2-9A6C-D1A371E76771}" type="presOf" srcId="{AADCA1D8-35D8-4EE7-A33A-F7F12CAB49B7}" destId="{302B6652-96BE-4C8D-B496-84D2EBA246CC}" srcOrd="0" destOrd="0" presId="urn:microsoft.com/office/officeart/2005/8/layout/process1"/>
    <dgm:cxn modelId="{5DDF88BA-AC42-4AC8-9698-7EAA95B7AAC7}" type="presOf" srcId="{D253D580-7D4C-4832-B55F-C060E21F1456}" destId="{333DD557-212A-4F88-A2D2-8F46D18FA406}" srcOrd="0" destOrd="0" presId="urn:microsoft.com/office/officeart/2005/8/layout/process1"/>
    <dgm:cxn modelId="{DD8633C2-502C-4143-806D-191193235CE5}" type="presOf" srcId="{EAE3061A-A9E8-40AC-A770-BD0A5248F0E7}" destId="{FB7E8FBF-7C4F-4723-9DA9-2644B55721EC}" srcOrd="1" destOrd="0" presId="urn:microsoft.com/office/officeart/2005/8/layout/process1"/>
    <dgm:cxn modelId="{84A865C5-5DC5-4181-85FD-0C1C28F0A066}" type="presOf" srcId="{EAE3061A-A9E8-40AC-A770-BD0A5248F0E7}" destId="{D00C97FD-329B-4CB0-82B3-6E7E6F080DA2}" srcOrd="0" destOrd="0" presId="urn:microsoft.com/office/officeart/2005/8/layout/process1"/>
    <dgm:cxn modelId="{2BFD19EF-AB56-41D7-9C71-0D75A0CEEC0D}" srcId="{AADCA1D8-35D8-4EE7-A33A-F7F12CAB49B7}" destId="{D253D580-7D4C-4832-B55F-C060E21F1456}" srcOrd="0" destOrd="0" parTransId="{C42CEA3B-AF9D-4F97-835A-CFF3E4065E7E}" sibTransId="{EAE3061A-A9E8-40AC-A770-BD0A5248F0E7}"/>
    <dgm:cxn modelId="{E9489EEA-693A-452D-943E-DB1C41428849}" type="presParOf" srcId="{302B6652-96BE-4C8D-B496-84D2EBA246CC}" destId="{333DD557-212A-4F88-A2D2-8F46D18FA406}" srcOrd="0" destOrd="0" presId="urn:microsoft.com/office/officeart/2005/8/layout/process1"/>
    <dgm:cxn modelId="{48621514-0AB2-40D1-A85E-5BAF4E6AAB32}" type="presParOf" srcId="{302B6652-96BE-4C8D-B496-84D2EBA246CC}" destId="{D00C97FD-329B-4CB0-82B3-6E7E6F080DA2}" srcOrd="1" destOrd="0" presId="urn:microsoft.com/office/officeart/2005/8/layout/process1"/>
    <dgm:cxn modelId="{962A420C-7DCB-44EC-89C7-172804728A19}" type="presParOf" srcId="{D00C97FD-329B-4CB0-82B3-6E7E6F080DA2}" destId="{FB7E8FBF-7C4F-4723-9DA9-2644B55721EC}" srcOrd="0" destOrd="0" presId="urn:microsoft.com/office/officeart/2005/8/layout/process1"/>
    <dgm:cxn modelId="{4F836EA3-54B3-4940-A8D9-E2359638E2C6}" type="presParOf" srcId="{302B6652-96BE-4C8D-B496-84D2EBA246CC}" destId="{31F3C280-B930-4F86-BEEF-6FB5CC520CE3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ADCA1D8-35D8-4EE7-A33A-F7F12CAB49B7}" type="doc">
      <dgm:prSet loTypeId="urn:microsoft.com/office/officeart/2005/8/layout/process1" loCatId="process" qsTypeId="urn:microsoft.com/office/officeart/2005/8/quickstyle/simple1" qsCatId="simple" csTypeId="urn:microsoft.com/office/officeart/2005/8/colors/accent1_3" csCatId="accent1" phldr="1"/>
      <dgm:spPr/>
    </dgm:pt>
    <dgm:pt modelId="{D253D580-7D4C-4832-B55F-C060E21F1456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Private IPs</a:t>
          </a:r>
        </a:p>
      </dgm:t>
    </dgm:pt>
    <dgm:pt modelId="{C42CEA3B-AF9D-4F97-835A-CFF3E4065E7E}" type="parTrans" cxnId="{2BFD19EF-AB56-41D7-9C71-0D75A0CEEC0D}">
      <dgm:prSet/>
      <dgm:spPr/>
      <dgm:t>
        <a:bodyPr/>
        <a:lstStyle/>
        <a:p>
          <a:endParaRPr lang="en-US"/>
        </a:p>
      </dgm:t>
    </dgm:pt>
    <dgm:pt modelId="{EAE3061A-A9E8-40AC-A770-BD0A5248F0E7}" type="sibTrans" cxnId="{2BFD19EF-AB56-41D7-9C71-0D75A0CEEC0D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41B2E98B-82B3-4C01-9816-2D74207D2667}">
      <dgm:prSet/>
      <dgm:spPr>
        <a:solidFill>
          <a:srgbClr val="0A71B4"/>
        </a:solidFill>
      </dgm:spPr>
      <dgm:t>
        <a:bodyPr/>
        <a:lstStyle/>
        <a:p>
          <a:r>
            <a:rPr lang="en-AU" dirty="0"/>
            <a:t>Public IPs</a:t>
          </a:r>
          <a:endParaRPr lang="en-US" dirty="0"/>
        </a:p>
      </dgm:t>
    </dgm:pt>
    <dgm:pt modelId="{BDECE61B-12D4-441B-863E-C28BA92A5ED0}" type="parTrans" cxnId="{964CB71A-022B-4986-9936-549691E47D32}">
      <dgm:prSet/>
      <dgm:spPr/>
      <dgm:t>
        <a:bodyPr/>
        <a:lstStyle/>
        <a:p>
          <a:endParaRPr lang="en-US"/>
        </a:p>
      </dgm:t>
    </dgm:pt>
    <dgm:pt modelId="{2C56DD67-0E61-4BE3-A3F2-E16900C1482C}" type="sibTrans" cxnId="{964CB71A-022B-4986-9936-549691E47D32}">
      <dgm:prSet/>
      <dgm:spPr/>
      <dgm:t>
        <a:bodyPr/>
        <a:lstStyle/>
        <a:p>
          <a:endParaRPr lang="en-US"/>
        </a:p>
      </dgm:t>
    </dgm:pt>
    <dgm:pt modelId="{302B6652-96BE-4C8D-B496-84D2EBA246CC}" type="pres">
      <dgm:prSet presAssocID="{AADCA1D8-35D8-4EE7-A33A-F7F12CAB49B7}" presName="Name0" presStyleCnt="0">
        <dgm:presLayoutVars>
          <dgm:dir/>
          <dgm:resizeHandles val="exact"/>
        </dgm:presLayoutVars>
      </dgm:prSet>
      <dgm:spPr/>
    </dgm:pt>
    <dgm:pt modelId="{333DD557-212A-4F88-A2D2-8F46D18FA406}" type="pres">
      <dgm:prSet presAssocID="{D253D580-7D4C-4832-B55F-C060E21F1456}" presName="node" presStyleLbl="node1" presStyleIdx="0" presStyleCnt="2">
        <dgm:presLayoutVars>
          <dgm:bulletEnabled val="1"/>
        </dgm:presLayoutVars>
      </dgm:prSet>
      <dgm:spPr/>
    </dgm:pt>
    <dgm:pt modelId="{7C1B4BCD-1859-4492-BCDE-D12DDF564239}" type="pres">
      <dgm:prSet presAssocID="{EAE3061A-A9E8-40AC-A770-BD0A5248F0E7}" presName="sibTrans" presStyleLbl="sibTrans2D1" presStyleIdx="0" presStyleCnt="1"/>
      <dgm:spPr/>
    </dgm:pt>
    <dgm:pt modelId="{9D17C875-6809-447B-BDF2-533C33436927}" type="pres">
      <dgm:prSet presAssocID="{EAE3061A-A9E8-40AC-A770-BD0A5248F0E7}" presName="connectorText" presStyleLbl="sibTrans2D1" presStyleIdx="0" presStyleCnt="1"/>
      <dgm:spPr/>
    </dgm:pt>
    <dgm:pt modelId="{54606BFF-0115-4087-8AB5-18813B677AB4}" type="pres">
      <dgm:prSet presAssocID="{41B2E98B-82B3-4C01-9816-2D74207D2667}" presName="node" presStyleLbl="node1" presStyleIdx="1" presStyleCnt="2">
        <dgm:presLayoutVars>
          <dgm:bulletEnabled val="1"/>
        </dgm:presLayoutVars>
      </dgm:prSet>
      <dgm:spPr/>
    </dgm:pt>
  </dgm:ptLst>
  <dgm:cxnLst>
    <dgm:cxn modelId="{964CB71A-022B-4986-9936-549691E47D32}" srcId="{AADCA1D8-35D8-4EE7-A33A-F7F12CAB49B7}" destId="{41B2E98B-82B3-4C01-9816-2D74207D2667}" srcOrd="1" destOrd="0" parTransId="{BDECE61B-12D4-441B-863E-C28BA92A5ED0}" sibTransId="{2C56DD67-0E61-4BE3-A3F2-E16900C1482C}"/>
    <dgm:cxn modelId="{84791D35-E37B-4826-B6F7-0BB0CEFD58F1}" type="presOf" srcId="{41B2E98B-82B3-4C01-9816-2D74207D2667}" destId="{54606BFF-0115-4087-8AB5-18813B677AB4}" srcOrd="0" destOrd="0" presId="urn:microsoft.com/office/officeart/2005/8/layout/process1"/>
    <dgm:cxn modelId="{0AC4EF47-9F27-446D-BCA7-F01D32F38E1B}" type="presOf" srcId="{EAE3061A-A9E8-40AC-A770-BD0A5248F0E7}" destId="{7C1B4BCD-1859-4492-BCDE-D12DDF564239}" srcOrd="0" destOrd="0" presId="urn:microsoft.com/office/officeart/2005/8/layout/process1"/>
    <dgm:cxn modelId="{35F6AEB3-615F-44D2-9A6C-D1A371E76771}" type="presOf" srcId="{AADCA1D8-35D8-4EE7-A33A-F7F12CAB49B7}" destId="{302B6652-96BE-4C8D-B496-84D2EBA246CC}" srcOrd="0" destOrd="0" presId="urn:microsoft.com/office/officeart/2005/8/layout/process1"/>
    <dgm:cxn modelId="{5DDF88BA-AC42-4AC8-9698-7EAA95B7AAC7}" type="presOf" srcId="{D253D580-7D4C-4832-B55F-C060E21F1456}" destId="{333DD557-212A-4F88-A2D2-8F46D18FA406}" srcOrd="0" destOrd="0" presId="urn:microsoft.com/office/officeart/2005/8/layout/process1"/>
    <dgm:cxn modelId="{84BD31C3-AE5F-4F40-A6CC-593CBDC749A9}" type="presOf" srcId="{EAE3061A-A9E8-40AC-A770-BD0A5248F0E7}" destId="{9D17C875-6809-447B-BDF2-533C33436927}" srcOrd="1" destOrd="0" presId="urn:microsoft.com/office/officeart/2005/8/layout/process1"/>
    <dgm:cxn modelId="{2BFD19EF-AB56-41D7-9C71-0D75A0CEEC0D}" srcId="{AADCA1D8-35D8-4EE7-A33A-F7F12CAB49B7}" destId="{D253D580-7D4C-4832-B55F-C060E21F1456}" srcOrd="0" destOrd="0" parTransId="{C42CEA3B-AF9D-4F97-835A-CFF3E4065E7E}" sibTransId="{EAE3061A-A9E8-40AC-A770-BD0A5248F0E7}"/>
    <dgm:cxn modelId="{E9489EEA-693A-452D-943E-DB1C41428849}" type="presParOf" srcId="{302B6652-96BE-4C8D-B496-84D2EBA246CC}" destId="{333DD557-212A-4F88-A2D2-8F46D18FA406}" srcOrd="0" destOrd="0" presId="urn:microsoft.com/office/officeart/2005/8/layout/process1"/>
    <dgm:cxn modelId="{7FFDE36C-A571-4D44-B393-85FD9C2658AA}" type="presParOf" srcId="{302B6652-96BE-4C8D-B496-84D2EBA246CC}" destId="{7C1B4BCD-1859-4492-BCDE-D12DDF564239}" srcOrd="1" destOrd="0" presId="urn:microsoft.com/office/officeart/2005/8/layout/process1"/>
    <dgm:cxn modelId="{65E8C274-6415-43DF-BA93-C6AED8B0C91F}" type="presParOf" srcId="{7C1B4BCD-1859-4492-BCDE-D12DDF564239}" destId="{9D17C875-6809-447B-BDF2-533C33436927}" srcOrd="0" destOrd="0" presId="urn:microsoft.com/office/officeart/2005/8/layout/process1"/>
    <dgm:cxn modelId="{C583F89B-BF9F-4025-BE83-838E8061FED7}" type="presParOf" srcId="{302B6652-96BE-4C8D-B496-84D2EBA246CC}" destId="{54606BFF-0115-4087-8AB5-18813B677AB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ADCA1D8-35D8-4EE7-A33A-F7F12CAB49B7}" type="doc">
      <dgm:prSet loTypeId="urn:microsoft.com/office/officeart/2005/8/layout/process1" loCatId="process" qsTypeId="urn:microsoft.com/office/officeart/2005/8/quickstyle/simple1" qsCatId="simple" csTypeId="urn:microsoft.com/office/officeart/2005/8/colors/accent1_3" csCatId="accent1" phldr="1"/>
      <dgm:spPr/>
    </dgm:pt>
    <dgm:pt modelId="{D253D580-7D4C-4832-B55F-C060E21F1456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RDP / SSH</a:t>
          </a:r>
        </a:p>
      </dgm:t>
    </dgm:pt>
    <dgm:pt modelId="{C42CEA3B-AF9D-4F97-835A-CFF3E4065E7E}" type="parTrans" cxnId="{2BFD19EF-AB56-41D7-9C71-0D75A0CEEC0D}">
      <dgm:prSet/>
      <dgm:spPr/>
      <dgm:t>
        <a:bodyPr/>
        <a:lstStyle/>
        <a:p>
          <a:endParaRPr lang="en-US"/>
        </a:p>
      </dgm:t>
    </dgm:pt>
    <dgm:pt modelId="{EAE3061A-A9E8-40AC-A770-BD0A5248F0E7}" type="sibTrans" cxnId="{2BFD19EF-AB56-41D7-9C71-0D75A0CEEC0D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7276CE8B-BF80-4E1F-B1A4-CDF0C03520AE}">
      <dgm:prSet/>
      <dgm:spPr>
        <a:solidFill>
          <a:srgbClr val="0A71B4"/>
        </a:solidFill>
      </dgm:spPr>
      <dgm:t>
        <a:bodyPr/>
        <a:lstStyle/>
        <a:p>
          <a:r>
            <a:rPr lang="en-AU" dirty="0"/>
            <a:t>Management APIs</a:t>
          </a:r>
          <a:endParaRPr lang="en-US" dirty="0"/>
        </a:p>
      </dgm:t>
    </dgm:pt>
    <dgm:pt modelId="{8E3DB4DC-B8A0-47B0-856B-B699391A5A61}" type="parTrans" cxnId="{55B1D951-E6B7-4118-B19E-9A81A6BF3F0A}">
      <dgm:prSet/>
      <dgm:spPr/>
      <dgm:t>
        <a:bodyPr/>
        <a:lstStyle/>
        <a:p>
          <a:endParaRPr lang="en-US"/>
        </a:p>
      </dgm:t>
    </dgm:pt>
    <dgm:pt modelId="{8134310A-F6F8-4398-B837-7C097C3E8C8A}" type="sibTrans" cxnId="{55B1D951-E6B7-4118-B19E-9A81A6BF3F0A}">
      <dgm:prSet/>
      <dgm:spPr/>
      <dgm:t>
        <a:bodyPr/>
        <a:lstStyle/>
        <a:p>
          <a:endParaRPr lang="en-US"/>
        </a:p>
      </dgm:t>
    </dgm:pt>
    <dgm:pt modelId="{302B6652-96BE-4C8D-B496-84D2EBA246CC}" type="pres">
      <dgm:prSet presAssocID="{AADCA1D8-35D8-4EE7-A33A-F7F12CAB49B7}" presName="Name0" presStyleCnt="0">
        <dgm:presLayoutVars>
          <dgm:dir/>
          <dgm:resizeHandles val="exact"/>
        </dgm:presLayoutVars>
      </dgm:prSet>
      <dgm:spPr/>
    </dgm:pt>
    <dgm:pt modelId="{333DD557-212A-4F88-A2D2-8F46D18FA406}" type="pres">
      <dgm:prSet presAssocID="{D253D580-7D4C-4832-B55F-C060E21F1456}" presName="node" presStyleLbl="node1" presStyleIdx="0" presStyleCnt="2">
        <dgm:presLayoutVars>
          <dgm:bulletEnabled val="1"/>
        </dgm:presLayoutVars>
      </dgm:prSet>
      <dgm:spPr/>
    </dgm:pt>
    <dgm:pt modelId="{2742E869-6693-476C-8D38-6F45C967043A}" type="pres">
      <dgm:prSet presAssocID="{EAE3061A-A9E8-40AC-A770-BD0A5248F0E7}" presName="sibTrans" presStyleLbl="sibTrans2D1" presStyleIdx="0" presStyleCnt="1"/>
      <dgm:spPr/>
    </dgm:pt>
    <dgm:pt modelId="{B39D8AA6-8538-43FF-9F8F-F46B4E4F7FB2}" type="pres">
      <dgm:prSet presAssocID="{EAE3061A-A9E8-40AC-A770-BD0A5248F0E7}" presName="connectorText" presStyleLbl="sibTrans2D1" presStyleIdx="0" presStyleCnt="1"/>
      <dgm:spPr/>
    </dgm:pt>
    <dgm:pt modelId="{452DE210-A237-47B9-95C4-AEBFAB74C6EA}" type="pres">
      <dgm:prSet presAssocID="{7276CE8B-BF80-4E1F-B1A4-CDF0C03520AE}" presName="node" presStyleLbl="node1" presStyleIdx="1" presStyleCnt="2" custLinFactX="36671" custLinFactY="8544" custLinFactNeighborX="100000" custLinFactNeighborY="100000">
        <dgm:presLayoutVars>
          <dgm:bulletEnabled val="1"/>
        </dgm:presLayoutVars>
      </dgm:prSet>
      <dgm:spPr/>
    </dgm:pt>
  </dgm:ptLst>
  <dgm:cxnLst>
    <dgm:cxn modelId="{250E464C-B71A-47B5-8E4A-5B697A84B3B4}" type="presOf" srcId="{7276CE8B-BF80-4E1F-B1A4-CDF0C03520AE}" destId="{452DE210-A237-47B9-95C4-AEBFAB74C6EA}" srcOrd="0" destOrd="0" presId="urn:microsoft.com/office/officeart/2005/8/layout/process1"/>
    <dgm:cxn modelId="{55B1D951-E6B7-4118-B19E-9A81A6BF3F0A}" srcId="{AADCA1D8-35D8-4EE7-A33A-F7F12CAB49B7}" destId="{7276CE8B-BF80-4E1F-B1A4-CDF0C03520AE}" srcOrd="1" destOrd="0" parTransId="{8E3DB4DC-B8A0-47B0-856B-B699391A5A61}" sibTransId="{8134310A-F6F8-4398-B837-7C097C3E8C8A}"/>
    <dgm:cxn modelId="{EB9D4961-22FA-41B6-8E05-6845C9D21A4F}" type="presOf" srcId="{EAE3061A-A9E8-40AC-A770-BD0A5248F0E7}" destId="{B39D8AA6-8538-43FF-9F8F-F46B4E4F7FB2}" srcOrd="1" destOrd="0" presId="urn:microsoft.com/office/officeart/2005/8/layout/process1"/>
    <dgm:cxn modelId="{35F6AEB3-615F-44D2-9A6C-D1A371E76771}" type="presOf" srcId="{AADCA1D8-35D8-4EE7-A33A-F7F12CAB49B7}" destId="{302B6652-96BE-4C8D-B496-84D2EBA246CC}" srcOrd="0" destOrd="0" presId="urn:microsoft.com/office/officeart/2005/8/layout/process1"/>
    <dgm:cxn modelId="{5DDF88BA-AC42-4AC8-9698-7EAA95B7AAC7}" type="presOf" srcId="{D253D580-7D4C-4832-B55F-C060E21F1456}" destId="{333DD557-212A-4F88-A2D2-8F46D18FA406}" srcOrd="0" destOrd="0" presId="urn:microsoft.com/office/officeart/2005/8/layout/process1"/>
    <dgm:cxn modelId="{B6D683BD-1ABA-4D92-8148-6CD88563844D}" type="presOf" srcId="{EAE3061A-A9E8-40AC-A770-BD0A5248F0E7}" destId="{2742E869-6693-476C-8D38-6F45C967043A}" srcOrd="0" destOrd="0" presId="urn:microsoft.com/office/officeart/2005/8/layout/process1"/>
    <dgm:cxn modelId="{2BFD19EF-AB56-41D7-9C71-0D75A0CEEC0D}" srcId="{AADCA1D8-35D8-4EE7-A33A-F7F12CAB49B7}" destId="{D253D580-7D4C-4832-B55F-C060E21F1456}" srcOrd="0" destOrd="0" parTransId="{C42CEA3B-AF9D-4F97-835A-CFF3E4065E7E}" sibTransId="{EAE3061A-A9E8-40AC-A770-BD0A5248F0E7}"/>
    <dgm:cxn modelId="{E9489EEA-693A-452D-943E-DB1C41428849}" type="presParOf" srcId="{302B6652-96BE-4C8D-B496-84D2EBA246CC}" destId="{333DD557-212A-4F88-A2D2-8F46D18FA406}" srcOrd="0" destOrd="0" presId="urn:microsoft.com/office/officeart/2005/8/layout/process1"/>
    <dgm:cxn modelId="{58DFC5DD-1BE5-4CB0-BDF8-3501AB084DDC}" type="presParOf" srcId="{302B6652-96BE-4C8D-B496-84D2EBA246CC}" destId="{2742E869-6693-476C-8D38-6F45C967043A}" srcOrd="1" destOrd="0" presId="urn:microsoft.com/office/officeart/2005/8/layout/process1"/>
    <dgm:cxn modelId="{2A06C116-218E-4B82-976E-289987D2BC33}" type="presParOf" srcId="{2742E869-6693-476C-8D38-6F45C967043A}" destId="{B39D8AA6-8538-43FF-9F8F-F46B4E4F7FB2}" srcOrd="0" destOrd="0" presId="urn:microsoft.com/office/officeart/2005/8/layout/process1"/>
    <dgm:cxn modelId="{FCC47FD6-B101-4207-8CC8-1FD798A2C7C0}" type="presParOf" srcId="{302B6652-96BE-4C8D-B496-84D2EBA246CC}" destId="{452DE210-A237-47B9-95C4-AEBFAB74C6EA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0895BD5-736D-49F2-BA9D-81492BAFE593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3A74A82-AD3C-48DC-B647-06F4DC2A1424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Use cases</a:t>
          </a:r>
        </a:p>
      </dgm:t>
    </dgm:pt>
    <dgm:pt modelId="{AED5721A-B4B5-4CFB-98F4-1CFDD03BA270}" type="parTrans" cxnId="{06C76F25-7134-4127-B08A-3FFF3CF427EA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B47BB042-210E-46D3-BBC8-FBA07C3D08B8}" type="sibTrans" cxnId="{06C76F25-7134-4127-B08A-3FFF3CF427EA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B9B706B0-622F-4A55-BA3B-1B2707B3789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Data Flow Diagrams</a:t>
          </a:r>
        </a:p>
      </dgm:t>
    </dgm:pt>
    <dgm:pt modelId="{5CA9D70E-AD0E-4FF2-A233-5468E9CDD307}" type="parTrans" cxnId="{10A42C4C-7CBA-4507-9B65-81EE69332605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7C9E67B0-D45C-4319-96FA-10F630929C73}" type="sibTrans" cxnId="{10A42C4C-7CBA-4507-9B65-81EE69332605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1D79E80B-CD44-4D08-8C2B-A6722F38046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Components and the data flowing between them</a:t>
          </a:r>
        </a:p>
      </dgm:t>
    </dgm:pt>
    <dgm:pt modelId="{CB87C40F-DE37-46B3-A43A-32312E9558AE}" type="parTrans" cxnId="{CFC826F4-AF95-4BC5-AEBE-1E3C53A92294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A361AD18-D7BF-4759-BF40-602945111D97}" type="sibTrans" cxnId="{CFC826F4-AF95-4BC5-AEBE-1E3C53A92294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1BB82C57-1161-4FB8-94F0-53E3634A049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Entry points</a:t>
          </a:r>
        </a:p>
      </dgm:t>
    </dgm:pt>
    <dgm:pt modelId="{CAB0AC15-4B6A-482C-AE1A-43D3C7A35B81}" type="parTrans" cxnId="{485B2208-8234-4D58-8E36-3A04539BE1AB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BA3E9D2B-99D3-4F70-8AC8-2675BA777B77}" type="sibTrans" cxnId="{485B2208-8234-4D58-8E36-3A04539BE1AB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00BC0647-354D-46BB-B3D3-1A32B6B19F0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Trust boundaries</a:t>
          </a:r>
        </a:p>
      </dgm:t>
    </dgm:pt>
    <dgm:pt modelId="{5D5EB75C-3D0A-4740-817A-5674EEBF991B}" type="parTrans" cxnId="{A5E68F54-9F3C-42D6-8F95-AA3099B060D5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1627F7EF-4BE1-4482-BD0D-1C2CC143713D}" type="sibTrans" cxnId="{A5E68F54-9F3C-42D6-8F95-AA3099B060D5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B1AB2EFF-7E74-40C5-9661-D1A9BD268906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Assets to be protected</a:t>
          </a:r>
        </a:p>
      </dgm:t>
    </dgm:pt>
    <dgm:pt modelId="{0F71EC60-C841-4804-A637-E31546DD6B51}" type="parTrans" cxnId="{A6F47552-0E11-45B6-9007-095934DABDD8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B03A7CE6-B435-4D57-988E-B73378988DAF}" type="sibTrans" cxnId="{A6F47552-0E11-45B6-9007-095934DABDD8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598625D1-6061-424A-8137-B41CB399CE8D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Threats, mitigations and accepted risks</a:t>
          </a:r>
        </a:p>
      </dgm:t>
    </dgm:pt>
    <dgm:pt modelId="{20879149-9D17-4966-AE28-98F2FBC46A00}" type="parTrans" cxnId="{3D10FA62-0CDC-4E5E-AA6E-170B7551AF2A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F7A485F3-E8D4-4CC5-9407-54C4C1C3B9B5}" type="sibTrans" cxnId="{3D10FA62-0CDC-4E5E-AA6E-170B7551AF2A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AFC0680E-3AAF-42C8-85D1-A07DAA08060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Security assumptions</a:t>
          </a:r>
        </a:p>
      </dgm:t>
    </dgm:pt>
    <dgm:pt modelId="{9CF8ECB1-1692-413C-81EB-1B137D4F3683}" type="parTrans" cxnId="{73C03F78-AAA7-47B6-A48D-1E127000CD6D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D9D6FA20-57A3-4C47-836E-9ECF804A0FED}" type="sibTrans" cxnId="{73C03F78-AAA7-47B6-A48D-1E127000CD6D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52783307-0AED-4087-A410-A9621B4D4F78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Often about systems you depend on</a:t>
          </a:r>
        </a:p>
      </dgm:t>
    </dgm:pt>
    <dgm:pt modelId="{AB305750-D78A-4368-8FF0-F845D3BE0531}" type="parTrans" cxnId="{D6A41A0B-5359-4435-B3AC-72CBF41CE1B5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DCF94EED-E7BB-4E4B-B147-5DE9F63537BE}" type="sibTrans" cxnId="{D6A41A0B-5359-4435-B3AC-72CBF41CE1B5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4DB1BFFA-EEF3-4C4E-84B0-732E3469603E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i="0" dirty="0">
              <a:latin typeface="Verdana (Headings)"/>
            </a:rPr>
            <a:t>Databases, Servers, Keys</a:t>
          </a:r>
        </a:p>
      </dgm:t>
    </dgm:pt>
    <dgm:pt modelId="{97D95284-918B-429A-B35D-881B94A0FF12}" type="parTrans" cxnId="{FAB6421B-A5A0-4B43-8C30-C2D5EEA0816E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0123EE38-C0CE-457D-AE66-1A5E94DB0A68}" type="sibTrans" cxnId="{FAB6421B-A5A0-4B43-8C30-C2D5EEA0816E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40C69DD2-DF41-4CBB-86CF-AAB83D6A5C25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AU" b="0" i="0" dirty="0">
              <a:latin typeface="Verdana (Headings)"/>
            </a:rPr>
            <a:t>Of the system being </a:t>
          </a:r>
          <a:r>
            <a:rPr lang="en-AU" b="0" i="0" dirty="0" err="1">
              <a:latin typeface="Verdana (Headings)"/>
            </a:rPr>
            <a:t>modeled</a:t>
          </a:r>
          <a:endParaRPr lang="en-US" b="0" i="0" dirty="0">
            <a:latin typeface="Verdana (Headings)"/>
          </a:endParaRPr>
        </a:p>
      </dgm:t>
    </dgm:pt>
    <dgm:pt modelId="{32382282-AF77-44FA-B041-F528F401D1CC}" type="parTrans" cxnId="{0BC398A5-01A4-4B42-9035-3242781E354A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380EBF3B-141C-4A16-A547-C9C13D4C4874}" type="sibTrans" cxnId="{0BC398A5-01A4-4B42-9035-3242781E354A}">
      <dgm:prSet/>
      <dgm:spPr/>
      <dgm:t>
        <a:bodyPr/>
        <a:lstStyle/>
        <a:p>
          <a:endParaRPr lang="en-US">
            <a:latin typeface="Verdana (Headings)"/>
          </a:endParaRPr>
        </a:p>
      </dgm:t>
    </dgm:pt>
    <dgm:pt modelId="{7C66E308-62BB-4492-8EFF-4C0349E6A965}" type="pres">
      <dgm:prSet presAssocID="{D0895BD5-736D-49F2-BA9D-81492BAFE593}" presName="linear" presStyleCnt="0">
        <dgm:presLayoutVars>
          <dgm:animLvl val="lvl"/>
          <dgm:resizeHandles val="exact"/>
        </dgm:presLayoutVars>
      </dgm:prSet>
      <dgm:spPr/>
    </dgm:pt>
    <dgm:pt modelId="{F28233D4-D68B-4643-A331-7F96CAB46F85}" type="pres">
      <dgm:prSet presAssocID="{F3A74A82-AD3C-48DC-B647-06F4DC2A1424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867FA629-B26F-4F1C-A025-EB98CFD3093E}" type="pres">
      <dgm:prSet presAssocID="{F3A74A82-AD3C-48DC-B647-06F4DC2A1424}" presName="childText" presStyleLbl="revTx" presStyleIdx="0" presStyleCnt="4">
        <dgm:presLayoutVars>
          <dgm:bulletEnabled val="1"/>
        </dgm:presLayoutVars>
      </dgm:prSet>
      <dgm:spPr/>
    </dgm:pt>
    <dgm:pt modelId="{EEC99A4A-9416-41A8-AEF2-89BCD2FD4820}" type="pres">
      <dgm:prSet presAssocID="{B9B706B0-622F-4A55-BA3B-1B2707B37895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A1201E24-EBB0-48B7-983D-3DCCF68FB536}" type="pres">
      <dgm:prSet presAssocID="{B9B706B0-622F-4A55-BA3B-1B2707B37895}" presName="childText" presStyleLbl="revTx" presStyleIdx="1" presStyleCnt="4">
        <dgm:presLayoutVars>
          <dgm:bulletEnabled val="1"/>
        </dgm:presLayoutVars>
      </dgm:prSet>
      <dgm:spPr/>
    </dgm:pt>
    <dgm:pt modelId="{7E60F853-05A5-4789-A71E-F33046D8547F}" type="pres">
      <dgm:prSet presAssocID="{B1AB2EFF-7E74-40C5-9661-D1A9BD268906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104F193B-F630-472B-8619-39B818EB76D7}" type="pres">
      <dgm:prSet presAssocID="{B1AB2EFF-7E74-40C5-9661-D1A9BD268906}" presName="childText" presStyleLbl="revTx" presStyleIdx="2" presStyleCnt="4">
        <dgm:presLayoutVars>
          <dgm:bulletEnabled val="1"/>
        </dgm:presLayoutVars>
      </dgm:prSet>
      <dgm:spPr/>
    </dgm:pt>
    <dgm:pt modelId="{1676C198-5FEC-436D-9B6F-E167FA983F67}" type="pres">
      <dgm:prSet presAssocID="{598625D1-6061-424A-8137-B41CB399CE8D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B8F4A51A-59AB-4D15-AD9F-57EE47F731BB}" type="pres">
      <dgm:prSet presAssocID="{F7A485F3-E8D4-4CC5-9407-54C4C1C3B9B5}" presName="spacer" presStyleCnt="0"/>
      <dgm:spPr/>
    </dgm:pt>
    <dgm:pt modelId="{F957F0AF-0621-485B-A92F-EA260D11E7A0}" type="pres">
      <dgm:prSet presAssocID="{AFC0680E-3AAF-42C8-85D1-A07DAA08060E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DCAE795D-5186-409F-A7EA-F379AE19611C}" type="pres">
      <dgm:prSet presAssocID="{AFC0680E-3AAF-42C8-85D1-A07DAA08060E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485B2208-8234-4D58-8E36-3A04539BE1AB}" srcId="{B9B706B0-622F-4A55-BA3B-1B2707B37895}" destId="{1BB82C57-1161-4FB8-94F0-53E3634A0496}" srcOrd="1" destOrd="0" parTransId="{CAB0AC15-4B6A-482C-AE1A-43D3C7A35B81}" sibTransId="{BA3E9D2B-99D3-4F70-8AC8-2675BA777B77}"/>
    <dgm:cxn modelId="{F1895508-0839-43D8-AC8B-6A3A83E5275A}" type="presOf" srcId="{598625D1-6061-424A-8137-B41CB399CE8D}" destId="{1676C198-5FEC-436D-9B6F-E167FA983F67}" srcOrd="0" destOrd="0" presId="urn:microsoft.com/office/officeart/2005/8/layout/vList2"/>
    <dgm:cxn modelId="{8B636A0A-AFF6-4261-A1A9-2E7FC60D6C30}" type="presOf" srcId="{1D79E80B-CD44-4D08-8C2B-A6722F380468}" destId="{A1201E24-EBB0-48B7-983D-3DCCF68FB536}" srcOrd="0" destOrd="0" presId="urn:microsoft.com/office/officeart/2005/8/layout/vList2"/>
    <dgm:cxn modelId="{D6A41A0B-5359-4435-B3AC-72CBF41CE1B5}" srcId="{AFC0680E-3AAF-42C8-85D1-A07DAA08060E}" destId="{52783307-0AED-4087-A410-A9621B4D4F78}" srcOrd="0" destOrd="0" parTransId="{AB305750-D78A-4368-8FF0-F845D3BE0531}" sibTransId="{DCF94EED-E7BB-4E4B-B147-5DE9F63537BE}"/>
    <dgm:cxn modelId="{FAB6421B-A5A0-4B43-8C30-C2D5EEA0816E}" srcId="{B1AB2EFF-7E74-40C5-9661-D1A9BD268906}" destId="{4DB1BFFA-EEF3-4C4E-84B0-732E3469603E}" srcOrd="0" destOrd="0" parTransId="{97D95284-918B-429A-B35D-881B94A0FF12}" sibTransId="{0123EE38-C0CE-457D-AE66-1A5E94DB0A68}"/>
    <dgm:cxn modelId="{06C76F25-7134-4127-B08A-3FFF3CF427EA}" srcId="{D0895BD5-736D-49F2-BA9D-81492BAFE593}" destId="{F3A74A82-AD3C-48DC-B647-06F4DC2A1424}" srcOrd="0" destOrd="0" parTransId="{AED5721A-B4B5-4CFB-98F4-1CFDD03BA270}" sibTransId="{B47BB042-210E-46D3-BBC8-FBA07C3D08B8}"/>
    <dgm:cxn modelId="{788BD92F-9D78-48FC-9F14-9FC12EDF75B1}" type="presOf" srcId="{D0895BD5-736D-49F2-BA9D-81492BAFE593}" destId="{7C66E308-62BB-4492-8EFF-4C0349E6A965}" srcOrd="0" destOrd="0" presId="urn:microsoft.com/office/officeart/2005/8/layout/vList2"/>
    <dgm:cxn modelId="{584B2E3B-E6F9-496D-BD9F-BE18EFE05D66}" type="presOf" srcId="{52783307-0AED-4087-A410-A9621B4D4F78}" destId="{DCAE795D-5186-409F-A7EA-F379AE19611C}" srcOrd="0" destOrd="0" presId="urn:microsoft.com/office/officeart/2005/8/layout/vList2"/>
    <dgm:cxn modelId="{1303164C-964F-4FB4-AED3-D7D4C1B47134}" type="presOf" srcId="{00BC0647-354D-46BB-B3D3-1A32B6B19F05}" destId="{A1201E24-EBB0-48B7-983D-3DCCF68FB536}" srcOrd="0" destOrd="2" presId="urn:microsoft.com/office/officeart/2005/8/layout/vList2"/>
    <dgm:cxn modelId="{10A42C4C-7CBA-4507-9B65-81EE69332605}" srcId="{D0895BD5-736D-49F2-BA9D-81492BAFE593}" destId="{B9B706B0-622F-4A55-BA3B-1B2707B37895}" srcOrd="1" destOrd="0" parTransId="{5CA9D70E-AD0E-4FF2-A233-5468E9CDD307}" sibTransId="{7C9E67B0-D45C-4319-96FA-10F630929C73}"/>
    <dgm:cxn modelId="{A6F47552-0E11-45B6-9007-095934DABDD8}" srcId="{D0895BD5-736D-49F2-BA9D-81492BAFE593}" destId="{B1AB2EFF-7E74-40C5-9661-D1A9BD268906}" srcOrd="2" destOrd="0" parTransId="{0F71EC60-C841-4804-A637-E31546DD6B51}" sibTransId="{B03A7CE6-B435-4D57-988E-B73378988DAF}"/>
    <dgm:cxn modelId="{A5E68F54-9F3C-42D6-8F95-AA3099B060D5}" srcId="{B9B706B0-622F-4A55-BA3B-1B2707B37895}" destId="{00BC0647-354D-46BB-B3D3-1A32B6B19F05}" srcOrd="2" destOrd="0" parTransId="{5D5EB75C-3D0A-4740-817A-5674EEBF991B}" sibTransId="{1627F7EF-4BE1-4482-BD0D-1C2CC143713D}"/>
    <dgm:cxn modelId="{EBAC7362-A946-4DE0-B020-CD720B09745C}" type="presOf" srcId="{4DB1BFFA-EEF3-4C4E-84B0-732E3469603E}" destId="{104F193B-F630-472B-8619-39B818EB76D7}" srcOrd="0" destOrd="0" presId="urn:microsoft.com/office/officeart/2005/8/layout/vList2"/>
    <dgm:cxn modelId="{3D10FA62-0CDC-4E5E-AA6E-170B7551AF2A}" srcId="{D0895BD5-736D-49F2-BA9D-81492BAFE593}" destId="{598625D1-6061-424A-8137-B41CB399CE8D}" srcOrd="3" destOrd="0" parTransId="{20879149-9D17-4966-AE28-98F2FBC46A00}" sibTransId="{F7A485F3-E8D4-4CC5-9407-54C4C1C3B9B5}"/>
    <dgm:cxn modelId="{73C03F78-AAA7-47B6-A48D-1E127000CD6D}" srcId="{D0895BD5-736D-49F2-BA9D-81492BAFE593}" destId="{AFC0680E-3AAF-42C8-85D1-A07DAA08060E}" srcOrd="4" destOrd="0" parTransId="{9CF8ECB1-1692-413C-81EB-1B137D4F3683}" sibTransId="{D9D6FA20-57A3-4C47-836E-9ECF804A0FED}"/>
    <dgm:cxn modelId="{FDA470A3-DB14-41EC-8181-D428641C1EC8}" type="presOf" srcId="{B9B706B0-622F-4A55-BA3B-1B2707B37895}" destId="{EEC99A4A-9416-41A8-AEF2-89BCD2FD4820}" srcOrd="0" destOrd="0" presId="urn:microsoft.com/office/officeart/2005/8/layout/vList2"/>
    <dgm:cxn modelId="{0BC398A5-01A4-4B42-9035-3242781E354A}" srcId="{F3A74A82-AD3C-48DC-B647-06F4DC2A1424}" destId="{40C69DD2-DF41-4CBB-86CF-AAB83D6A5C25}" srcOrd="0" destOrd="0" parTransId="{32382282-AF77-44FA-B041-F528F401D1CC}" sibTransId="{380EBF3B-141C-4A16-A547-C9C13D4C4874}"/>
    <dgm:cxn modelId="{F3ACBEBE-1520-4C7A-8B22-74C6B4777A8C}" type="presOf" srcId="{AFC0680E-3AAF-42C8-85D1-A07DAA08060E}" destId="{F957F0AF-0621-485B-A92F-EA260D11E7A0}" srcOrd="0" destOrd="0" presId="urn:microsoft.com/office/officeart/2005/8/layout/vList2"/>
    <dgm:cxn modelId="{2E3641D6-3B17-430A-B1CA-B28DD28ED4EA}" type="presOf" srcId="{B1AB2EFF-7E74-40C5-9661-D1A9BD268906}" destId="{7E60F853-05A5-4789-A71E-F33046D8547F}" srcOrd="0" destOrd="0" presId="urn:microsoft.com/office/officeart/2005/8/layout/vList2"/>
    <dgm:cxn modelId="{0F3D0CDA-B8C9-4E99-8489-F07676702268}" type="presOf" srcId="{1BB82C57-1161-4FB8-94F0-53E3634A0496}" destId="{A1201E24-EBB0-48B7-983D-3DCCF68FB536}" srcOrd="0" destOrd="1" presId="urn:microsoft.com/office/officeart/2005/8/layout/vList2"/>
    <dgm:cxn modelId="{90DB5ADF-A373-467E-8C3F-E363100E522D}" type="presOf" srcId="{40C69DD2-DF41-4CBB-86CF-AAB83D6A5C25}" destId="{867FA629-B26F-4F1C-A025-EB98CFD3093E}" srcOrd="0" destOrd="0" presId="urn:microsoft.com/office/officeart/2005/8/layout/vList2"/>
    <dgm:cxn modelId="{CC6874EF-4A43-458A-A662-489F54EFDDAB}" type="presOf" srcId="{F3A74A82-AD3C-48DC-B647-06F4DC2A1424}" destId="{F28233D4-D68B-4643-A331-7F96CAB46F85}" srcOrd="0" destOrd="0" presId="urn:microsoft.com/office/officeart/2005/8/layout/vList2"/>
    <dgm:cxn modelId="{CFC826F4-AF95-4BC5-AEBE-1E3C53A92294}" srcId="{B9B706B0-622F-4A55-BA3B-1B2707B37895}" destId="{1D79E80B-CD44-4D08-8C2B-A6722F380468}" srcOrd="0" destOrd="0" parTransId="{CB87C40F-DE37-46B3-A43A-32312E9558AE}" sibTransId="{A361AD18-D7BF-4759-BF40-602945111D97}"/>
    <dgm:cxn modelId="{817F611D-4C2A-4AD7-BC31-4BCDD4D668B7}" type="presParOf" srcId="{7C66E308-62BB-4492-8EFF-4C0349E6A965}" destId="{F28233D4-D68B-4643-A331-7F96CAB46F85}" srcOrd="0" destOrd="0" presId="urn:microsoft.com/office/officeart/2005/8/layout/vList2"/>
    <dgm:cxn modelId="{0AF844B4-D543-4348-BDA6-42ADD4D384F7}" type="presParOf" srcId="{7C66E308-62BB-4492-8EFF-4C0349E6A965}" destId="{867FA629-B26F-4F1C-A025-EB98CFD3093E}" srcOrd="1" destOrd="0" presId="urn:microsoft.com/office/officeart/2005/8/layout/vList2"/>
    <dgm:cxn modelId="{44F9A327-B5A1-4F8E-9D34-61ADE490F65E}" type="presParOf" srcId="{7C66E308-62BB-4492-8EFF-4C0349E6A965}" destId="{EEC99A4A-9416-41A8-AEF2-89BCD2FD4820}" srcOrd="2" destOrd="0" presId="urn:microsoft.com/office/officeart/2005/8/layout/vList2"/>
    <dgm:cxn modelId="{2E555C66-97C8-4F9E-8145-4C80F0C59F8B}" type="presParOf" srcId="{7C66E308-62BB-4492-8EFF-4C0349E6A965}" destId="{A1201E24-EBB0-48B7-983D-3DCCF68FB536}" srcOrd="3" destOrd="0" presId="urn:microsoft.com/office/officeart/2005/8/layout/vList2"/>
    <dgm:cxn modelId="{C158271A-1850-4EAC-960B-85DBF51B0CE8}" type="presParOf" srcId="{7C66E308-62BB-4492-8EFF-4C0349E6A965}" destId="{7E60F853-05A5-4789-A71E-F33046D8547F}" srcOrd="4" destOrd="0" presId="urn:microsoft.com/office/officeart/2005/8/layout/vList2"/>
    <dgm:cxn modelId="{ED44A9CF-C865-4EC6-B8DB-E648346D7C11}" type="presParOf" srcId="{7C66E308-62BB-4492-8EFF-4C0349E6A965}" destId="{104F193B-F630-472B-8619-39B818EB76D7}" srcOrd="5" destOrd="0" presId="urn:microsoft.com/office/officeart/2005/8/layout/vList2"/>
    <dgm:cxn modelId="{9A5651A8-7148-4573-BB4F-6E4699FCB53C}" type="presParOf" srcId="{7C66E308-62BB-4492-8EFF-4C0349E6A965}" destId="{1676C198-5FEC-436D-9B6F-E167FA983F67}" srcOrd="6" destOrd="0" presId="urn:microsoft.com/office/officeart/2005/8/layout/vList2"/>
    <dgm:cxn modelId="{617C2A46-31C4-49F9-816E-E6C8B2C7E1C5}" type="presParOf" srcId="{7C66E308-62BB-4492-8EFF-4C0349E6A965}" destId="{B8F4A51A-59AB-4D15-AD9F-57EE47F731BB}" srcOrd="7" destOrd="0" presId="urn:microsoft.com/office/officeart/2005/8/layout/vList2"/>
    <dgm:cxn modelId="{E93EBF80-3047-43F0-ACEE-A64AFDA13CB4}" type="presParOf" srcId="{7C66E308-62BB-4492-8EFF-4C0349E6A965}" destId="{F957F0AF-0621-485B-A92F-EA260D11E7A0}" srcOrd="8" destOrd="0" presId="urn:microsoft.com/office/officeart/2005/8/layout/vList2"/>
    <dgm:cxn modelId="{52ACADA8-5E77-4D33-BB9E-328BD8570153}" type="presParOf" srcId="{7C66E308-62BB-4492-8EFF-4C0349E6A965}" destId="{DCAE795D-5186-409F-A7EA-F379AE19611C}" srcOrd="9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123CA7B-ADB1-4656-9403-D422A5A13124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68E0F24-0E7F-48BB-B982-CCC828F61F6F}">
      <dgm:prSet phldrT="[Text]" custT="1"/>
      <dgm:spPr/>
      <dgm:t>
        <a:bodyPr/>
        <a:lstStyle/>
        <a:p>
          <a:pPr rtl="0"/>
          <a:r>
            <a:rPr lang="en-AU" sz="2800" dirty="0">
              <a:latin typeface="Verdana (Headings)"/>
            </a:rPr>
            <a:t>Service Instance</a:t>
          </a:r>
          <a:endParaRPr lang="en-US" sz="2800" dirty="0">
            <a:latin typeface="Verdana (Headings)"/>
          </a:endParaRPr>
        </a:p>
      </dgm:t>
    </dgm:pt>
    <dgm:pt modelId="{82D2BAA8-12C5-4AA7-B85C-D3E7860F6679}" type="parTrans" cxnId="{297F56D8-F033-440F-AE89-6C97AD82023D}">
      <dgm:prSet/>
      <dgm:spPr/>
      <dgm:t>
        <a:bodyPr/>
        <a:lstStyle/>
        <a:p>
          <a:pPr rtl="0"/>
          <a:endParaRPr lang="en-US" sz="1400"/>
        </a:p>
      </dgm:t>
    </dgm:pt>
    <dgm:pt modelId="{32241D9E-FA51-4EE0-995E-8226FCAAC400}" type="sibTrans" cxnId="{297F56D8-F033-440F-AE89-6C97AD82023D}">
      <dgm:prSet/>
      <dgm:spPr/>
      <dgm:t>
        <a:bodyPr/>
        <a:lstStyle/>
        <a:p>
          <a:pPr rtl="0"/>
          <a:endParaRPr lang="en-US" sz="1400"/>
        </a:p>
      </dgm:t>
    </dgm:pt>
    <dgm:pt modelId="{C387A0A3-502C-49F3-9DF1-D7456DA18578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Run-time vaults</a:t>
          </a:r>
          <a:endParaRPr lang="en-US" sz="1800" dirty="0">
            <a:latin typeface="Verdana (Headings)"/>
          </a:endParaRPr>
        </a:p>
      </dgm:t>
    </dgm:pt>
    <dgm:pt modelId="{9E704908-D121-4580-BD2F-17F9A4A7CE88}" type="parTrans" cxnId="{B4043115-81B7-4D06-AA03-C4673D6DC77F}">
      <dgm:prSet custT="1"/>
      <dgm:spPr/>
      <dgm:t>
        <a:bodyPr/>
        <a:lstStyle/>
        <a:p>
          <a:pPr rtl="0"/>
          <a:endParaRPr lang="en-US" sz="300"/>
        </a:p>
      </dgm:t>
    </dgm:pt>
    <dgm:pt modelId="{78303FB4-513C-427F-BBF2-55EF983B53D5}" type="sibTrans" cxnId="{B4043115-81B7-4D06-AA03-C4673D6DC77F}">
      <dgm:prSet/>
      <dgm:spPr/>
      <dgm:t>
        <a:bodyPr/>
        <a:lstStyle/>
        <a:p>
          <a:pPr rtl="0"/>
          <a:endParaRPr lang="en-US" sz="1400"/>
        </a:p>
      </dgm:t>
    </dgm:pt>
    <dgm:pt modelId="{2E21A58B-EB5F-42F5-9347-9509A158602E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Deploy-time vaults</a:t>
          </a:r>
          <a:endParaRPr lang="en-US" sz="1800" dirty="0">
            <a:latin typeface="Verdana (Headings)"/>
          </a:endParaRPr>
        </a:p>
      </dgm:t>
    </dgm:pt>
    <dgm:pt modelId="{D29703C9-8EB7-4999-8C68-389B51069EF1}" type="parTrans" cxnId="{C5AA08EB-1DEF-4762-B733-93C6332AC292}">
      <dgm:prSet custT="1"/>
      <dgm:spPr/>
      <dgm:t>
        <a:bodyPr/>
        <a:lstStyle/>
        <a:p>
          <a:pPr rtl="0"/>
          <a:endParaRPr lang="en-US" sz="300"/>
        </a:p>
      </dgm:t>
    </dgm:pt>
    <dgm:pt modelId="{189A06D0-A20D-42B2-893D-4B201FD40662}" type="sibTrans" cxnId="{C5AA08EB-1DEF-4762-B733-93C6332AC292}">
      <dgm:prSet/>
      <dgm:spPr/>
      <dgm:t>
        <a:bodyPr/>
        <a:lstStyle/>
        <a:p>
          <a:pPr rtl="0"/>
          <a:endParaRPr lang="en-US" sz="1400"/>
        </a:p>
      </dgm:t>
    </dgm:pt>
    <dgm:pt modelId="{172139EA-398A-424F-AA9D-A015F171DCD7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Service-wide vault</a:t>
          </a:r>
          <a:endParaRPr lang="en-US" sz="1800" dirty="0">
            <a:latin typeface="Verdana (Headings)"/>
          </a:endParaRPr>
        </a:p>
      </dgm:t>
    </dgm:pt>
    <dgm:pt modelId="{B70B6F1F-6528-4DC8-B745-2A45FB00422E}" type="parTrans" cxnId="{EAE545CE-95F8-4CCE-A305-5BA748044723}">
      <dgm:prSet custT="1"/>
      <dgm:spPr/>
      <dgm:t>
        <a:bodyPr/>
        <a:lstStyle/>
        <a:p>
          <a:pPr rtl="0"/>
          <a:endParaRPr lang="en-US" sz="300"/>
        </a:p>
      </dgm:t>
    </dgm:pt>
    <dgm:pt modelId="{1D47B882-D6A7-44E6-859F-EAF234DA82A0}" type="sibTrans" cxnId="{EAE545CE-95F8-4CCE-A305-5BA748044723}">
      <dgm:prSet/>
      <dgm:spPr/>
      <dgm:t>
        <a:bodyPr/>
        <a:lstStyle/>
        <a:p>
          <a:pPr rtl="0"/>
          <a:endParaRPr lang="en-US" sz="1400"/>
        </a:p>
      </dgm:t>
    </dgm:pt>
    <dgm:pt modelId="{122DA66E-187F-45D3-903A-C35A0F82A4ED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Global vault</a:t>
          </a:r>
          <a:endParaRPr lang="en-US" sz="1800" dirty="0">
            <a:latin typeface="Verdana (Headings)"/>
          </a:endParaRPr>
        </a:p>
      </dgm:t>
    </dgm:pt>
    <dgm:pt modelId="{A25DD178-3B31-40DA-A38A-7ACA7369EB52}" type="parTrans" cxnId="{F46F146E-9AF3-4605-BBD7-28674CAD4D94}">
      <dgm:prSet custT="1"/>
      <dgm:spPr/>
      <dgm:t>
        <a:bodyPr/>
        <a:lstStyle/>
        <a:p>
          <a:pPr rtl="0"/>
          <a:endParaRPr lang="en-US" sz="300"/>
        </a:p>
      </dgm:t>
    </dgm:pt>
    <dgm:pt modelId="{D9858933-65C4-44E4-9EA9-FDBE410F8AAB}" type="sibTrans" cxnId="{F46F146E-9AF3-4605-BBD7-28674CAD4D94}">
      <dgm:prSet/>
      <dgm:spPr/>
      <dgm:t>
        <a:bodyPr/>
        <a:lstStyle/>
        <a:p>
          <a:pPr rtl="0"/>
          <a:endParaRPr lang="en-US" sz="1400"/>
        </a:p>
      </dgm:t>
    </dgm:pt>
    <dgm:pt modelId="{4FFEF35B-C918-4286-8CB5-9E88C06DAD7B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Deployment-specific vault</a:t>
          </a:r>
          <a:endParaRPr lang="en-US" sz="1800" dirty="0">
            <a:latin typeface="Verdana (Headings)"/>
          </a:endParaRPr>
        </a:p>
      </dgm:t>
    </dgm:pt>
    <dgm:pt modelId="{E2126663-265D-4A35-88BB-960C0E10EA34}" type="parTrans" cxnId="{1D050B60-1F7E-4BC9-A071-3C6DD66644FA}">
      <dgm:prSet custT="1"/>
      <dgm:spPr/>
      <dgm:t>
        <a:bodyPr/>
        <a:lstStyle/>
        <a:p>
          <a:pPr rtl="0"/>
          <a:endParaRPr lang="en-US" sz="300"/>
        </a:p>
      </dgm:t>
    </dgm:pt>
    <dgm:pt modelId="{961B3039-7F19-4626-A725-BA9699B001C9}" type="sibTrans" cxnId="{1D050B60-1F7E-4BC9-A071-3C6DD66644FA}">
      <dgm:prSet/>
      <dgm:spPr/>
      <dgm:t>
        <a:bodyPr/>
        <a:lstStyle/>
        <a:p>
          <a:pPr rtl="0"/>
          <a:endParaRPr lang="en-US" sz="1400"/>
        </a:p>
      </dgm:t>
    </dgm:pt>
    <dgm:pt modelId="{E5E6D1AE-55AF-4394-AEEF-E3633AD6ADF6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Service-wide vault</a:t>
          </a:r>
          <a:endParaRPr lang="en-US" sz="1800" dirty="0">
            <a:latin typeface="Verdana (Headings)"/>
          </a:endParaRPr>
        </a:p>
      </dgm:t>
    </dgm:pt>
    <dgm:pt modelId="{CE0298DF-6F30-44AF-8F09-F23F4BC717BA}" type="parTrans" cxnId="{99612322-4815-4CA8-8510-F79B7A34F4B0}">
      <dgm:prSet custT="1"/>
      <dgm:spPr/>
      <dgm:t>
        <a:bodyPr/>
        <a:lstStyle/>
        <a:p>
          <a:pPr rtl="0"/>
          <a:endParaRPr lang="en-US" sz="300"/>
        </a:p>
      </dgm:t>
    </dgm:pt>
    <dgm:pt modelId="{68C4B3FE-DB7A-44CC-B31B-68513852A3DB}" type="sibTrans" cxnId="{99612322-4815-4CA8-8510-F79B7A34F4B0}">
      <dgm:prSet/>
      <dgm:spPr/>
      <dgm:t>
        <a:bodyPr/>
        <a:lstStyle/>
        <a:p>
          <a:pPr rtl="0"/>
          <a:endParaRPr lang="en-US" sz="1400"/>
        </a:p>
      </dgm:t>
    </dgm:pt>
    <dgm:pt modelId="{ACEC517E-F9BB-494B-98AB-B2B6BDF9E078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Global vault</a:t>
          </a:r>
          <a:endParaRPr lang="en-US" sz="1800" dirty="0">
            <a:latin typeface="Verdana (Headings)"/>
          </a:endParaRPr>
        </a:p>
      </dgm:t>
    </dgm:pt>
    <dgm:pt modelId="{336AAF65-435B-488F-AAAB-61294966C102}" type="parTrans" cxnId="{02F17F2C-6322-4003-B7DB-1C1F8484D64F}">
      <dgm:prSet custT="1"/>
      <dgm:spPr/>
      <dgm:t>
        <a:bodyPr/>
        <a:lstStyle/>
        <a:p>
          <a:pPr rtl="0"/>
          <a:endParaRPr lang="en-US" sz="300"/>
        </a:p>
      </dgm:t>
    </dgm:pt>
    <dgm:pt modelId="{76ADE9EB-441C-458A-A6E2-D2369DEAB441}" type="sibTrans" cxnId="{02F17F2C-6322-4003-B7DB-1C1F8484D64F}">
      <dgm:prSet/>
      <dgm:spPr/>
      <dgm:t>
        <a:bodyPr/>
        <a:lstStyle/>
        <a:p>
          <a:pPr rtl="0"/>
          <a:endParaRPr lang="en-US" sz="1400"/>
        </a:p>
      </dgm:t>
    </dgm:pt>
    <dgm:pt modelId="{8E2A7269-DD49-4856-9551-52CA86EB34E9}">
      <dgm:prSet phldrT="[Text]" custT="1"/>
      <dgm:spPr/>
      <dgm:t>
        <a:bodyPr/>
        <a:lstStyle/>
        <a:p>
          <a:pPr rtl="0"/>
          <a:r>
            <a:rPr lang="en-AU" sz="1800" dirty="0">
              <a:latin typeface="Verdana (Headings)"/>
            </a:rPr>
            <a:t>Deployment-specific vault</a:t>
          </a:r>
          <a:endParaRPr lang="en-US" sz="1800" dirty="0">
            <a:latin typeface="Verdana (Headings)"/>
          </a:endParaRPr>
        </a:p>
      </dgm:t>
    </dgm:pt>
    <dgm:pt modelId="{7A3EE138-A2B2-498A-880A-C977821C226A}" type="parTrans" cxnId="{956797A9-6ED6-4BAA-9590-9F1A3F0F84C5}">
      <dgm:prSet custT="1"/>
      <dgm:spPr/>
      <dgm:t>
        <a:bodyPr/>
        <a:lstStyle/>
        <a:p>
          <a:pPr rtl="0"/>
          <a:endParaRPr lang="en-US" sz="300"/>
        </a:p>
      </dgm:t>
    </dgm:pt>
    <dgm:pt modelId="{86C6EC7B-A4F8-424E-9A02-4FEFA6F417B5}" type="sibTrans" cxnId="{956797A9-6ED6-4BAA-9590-9F1A3F0F84C5}">
      <dgm:prSet/>
      <dgm:spPr/>
      <dgm:t>
        <a:bodyPr/>
        <a:lstStyle/>
        <a:p>
          <a:pPr rtl="0"/>
          <a:endParaRPr lang="en-US" sz="1400"/>
        </a:p>
      </dgm:t>
    </dgm:pt>
    <dgm:pt modelId="{B149A6CC-7ED1-4CDE-A4BE-D919C76C8943}" type="pres">
      <dgm:prSet presAssocID="{6123CA7B-ADB1-4656-9403-D422A5A13124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92934B94-570C-4727-83D2-097659158B55}" type="pres">
      <dgm:prSet presAssocID="{868E0F24-0E7F-48BB-B982-CCC828F61F6F}" presName="root1" presStyleCnt="0"/>
      <dgm:spPr/>
    </dgm:pt>
    <dgm:pt modelId="{96507493-7136-44B9-B4A4-B347FE9A2E14}" type="pres">
      <dgm:prSet presAssocID="{868E0F24-0E7F-48BB-B982-CCC828F61F6F}" presName="LevelOneTextNode" presStyleLbl="node0" presStyleIdx="0" presStyleCnt="1">
        <dgm:presLayoutVars>
          <dgm:chPref val="3"/>
        </dgm:presLayoutVars>
      </dgm:prSet>
      <dgm:spPr/>
    </dgm:pt>
    <dgm:pt modelId="{8CBBECFF-4CD2-4729-8724-727EC5CCBC7C}" type="pres">
      <dgm:prSet presAssocID="{868E0F24-0E7F-48BB-B982-CCC828F61F6F}" presName="level2hierChild" presStyleCnt="0"/>
      <dgm:spPr/>
    </dgm:pt>
    <dgm:pt modelId="{EA1D381E-68FA-42AB-9A78-584AD5A89C43}" type="pres">
      <dgm:prSet presAssocID="{9E704908-D121-4580-BD2F-17F9A4A7CE88}" presName="conn2-1" presStyleLbl="parChTrans1D2" presStyleIdx="0" presStyleCnt="2"/>
      <dgm:spPr/>
    </dgm:pt>
    <dgm:pt modelId="{0056C859-5060-4E69-B5AA-1B5DCC873852}" type="pres">
      <dgm:prSet presAssocID="{9E704908-D121-4580-BD2F-17F9A4A7CE88}" presName="connTx" presStyleLbl="parChTrans1D2" presStyleIdx="0" presStyleCnt="2"/>
      <dgm:spPr/>
    </dgm:pt>
    <dgm:pt modelId="{E1DA3EA6-2087-4DAD-A5CC-52BB611A598D}" type="pres">
      <dgm:prSet presAssocID="{C387A0A3-502C-49F3-9DF1-D7456DA18578}" presName="root2" presStyleCnt="0"/>
      <dgm:spPr/>
    </dgm:pt>
    <dgm:pt modelId="{6D3D35C1-4D62-4773-B087-8AF39A121389}" type="pres">
      <dgm:prSet presAssocID="{C387A0A3-502C-49F3-9DF1-D7456DA18578}" presName="LevelTwoTextNode" presStyleLbl="node2" presStyleIdx="0" presStyleCnt="2">
        <dgm:presLayoutVars>
          <dgm:chPref val="3"/>
        </dgm:presLayoutVars>
      </dgm:prSet>
      <dgm:spPr/>
    </dgm:pt>
    <dgm:pt modelId="{3F56E59B-0DE8-4182-AD6B-981DBCA58F73}" type="pres">
      <dgm:prSet presAssocID="{C387A0A3-502C-49F3-9DF1-D7456DA18578}" presName="level3hierChild" presStyleCnt="0"/>
      <dgm:spPr/>
    </dgm:pt>
    <dgm:pt modelId="{BFF1024D-9BF3-422C-BDFC-2AD8E4235B58}" type="pres">
      <dgm:prSet presAssocID="{7A3EE138-A2B2-498A-880A-C977821C226A}" presName="conn2-1" presStyleLbl="parChTrans1D3" presStyleIdx="0" presStyleCnt="6"/>
      <dgm:spPr/>
    </dgm:pt>
    <dgm:pt modelId="{0AB65AAE-E8A7-425B-8E1E-9E338325F8F2}" type="pres">
      <dgm:prSet presAssocID="{7A3EE138-A2B2-498A-880A-C977821C226A}" presName="connTx" presStyleLbl="parChTrans1D3" presStyleIdx="0" presStyleCnt="6"/>
      <dgm:spPr/>
    </dgm:pt>
    <dgm:pt modelId="{8D481E99-7076-4AC1-9298-6064980478B1}" type="pres">
      <dgm:prSet presAssocID="{8E2A7269-DD49-4856-9551-52CA86EB34E9}" presName="root2" presStyleCnt="0"/>
      <dgm:spPr/>
    </dgm:pt>
    <dgm:pt modelId="{DEA8EF44-43C6-4893-913D-C1F8B26203FB}" type="pres">
      <dgm:prSet presAssocID="{8E2A7269-DD49-4856-9551-52CA86EB34E9}" presName="LevelTwoTextNode" presStyleLbl="node3" presStyleIdx="0" presStyleCnt="6">
        <dgm:presLayoutVars>
          <dgm:chPref val="3"/>
        </dgm:presLayoutVars>
      </dgm:prSet>
      <dgm:spPr/>
    </dgm:pt>
    <dgm:pt modelId="{2AE28B41-130B-4940-B734-830B4A25CFBC}" type="pres">
      <dgm:prSet presAssocID="{8E2A7269-DD49-4856-9551-52CA86EB34E9}" presName="level3hierChild" presStyleCnt="0"/>
      <dgm:spPr/>
    </dgm:pt>
    <dgm:pt modelId="{0986442E-E3F6-4B6A-8F35-82B64980628B}" type="pres">
      <dgm:prSet presAssocID="{B70B6F1F-6528-4DC8-B745-2A45FB00422E}" presName="conn2-1" presStyleLbl="parChTrans1D3" presStyleIdx="1" presStyleCnt="6"/>
      <dgm:spPr/>
    </dgm:pt>
    <dgm:pt modelId="{2E37A001-E346-46C4-A17F-8E03050C9FFA}" type="pres">
      <dgm:prSet presAssocID="{B70B6F1F-6528-4DC8-B745-2A45FB00422E}" presName="connTx" presStyleLbl="parChTrans1D3" presStyleIdx="1" presStyleCnt="6"/>
      <dgm:spPr/>
    </dgm:pt>
    <dgm:pt modelId="{4D9AFEC9-E432-4FCE-B5EF-AF0A7CF18E3C}" type="pres">
      <dgm:prSet presAssocID="{172139EA-398A-424F-AA9D-A015F171DCD7}" presName="root2" presStyleCnt="0"/>
      <dgm:spPr/>
    </dgm:pt>
    <dgm:pt modelId="{1EDC8CB0-6C45-4376-B26D-F866E91F1A0F}" type="pres">
      <dgm:prSet presAssocID="{172139EA-398A-424F-AA9D-A015F171DCD7}" presName="LevelTwoTextNode" presStyleLbl="node3" presStyleIdx="1" presStyleCnt="6">
        <dgm:presLayoutVars>
          <dgm:chPref val="3"/>
        </dgm:presLayoutVars>
      </dgm:prSet>
      <dgm:spPr/>
    </dgm:pt>
    <dgm:pt modelId="{F44AE88A-92A9-4E3E-966F-C62FC9829BCC}" type="pres">
      <dgm:prSet presAssocID="{172139EA-398A-424F-AA9D-A015F171DCD7}" presName="level3hierChild" presStyleCnt="0"/>
      <dgm:spPr/>
    </dgm:pt>
    <dgm:pt modelId="{BD517DDF-6059-4E6A-9E0F-CFE867F6D423}" type="pres">
      <dgm:prSet presAssocID="{A25DD178-3B31-40DA-A38A-7ACA7369EB52}" presName="conn2-1" presStyleLbl="parChTrans1D3" presStyleIdx="2" presStyleCnt="6"/>
      <dgm:spPr/>
    </dgm:pt>
    <dgm:pt modelId="{332F1B6C-1DF7-4A94-8C40-F9FD261C8096}" type="pres">
      <dgm:prSet presAssocID="{A25DD178-3B31-40DA-A38A-7ACA7369EB52}" presName="connTx" presStyleLbl="parChTrans1D3" presStyleIdx="2" presStyleCnt="6"/>
      <dgm:spPr/>
    </dgm:pt>
    <dgm:pt modelId="{00BE2A49-9149-4DC1-8B42-4FB699E606AC}" type="pres">
      <dgm:prSet presAssocID="{122DA66E-187F-45D3-903A-C35A0F82A4ED}" presName="root2" presStyleCnt="0"/>
      <dgm:spPr/>
    </dgm:pt>
    <dgm:pt modelId="{A3851030-829F-49A1-9847-E4CD1F7A7C4C}" type="pres">
      <dgm:prSet presAssocID="{122DA66E-187F-45D3-903A-C35A0F82A4ED}" presName="LevelTwoTextNode" presStyleLbl="node3" presStyleIdx="2" presStyleCnt="6">
        <dgm:presLayoutVars>
          <dgm:chPref val="3"/>
        </dgm:presLayoutVars>
      </dgm:prSet>
      <dgm:spPr/>
    </dgm:pt>
    <dgm:pt modelId="{64875D9F-EE90-4EAA-952C-FCC5EFC2D89E}" type="pres">
      <dgm:prSet presAssocID="{122DA66E-187F-45D3-903A-C35A0F82A4ED}" presName="level3hierChild" presStyleCnt="0"/>
      <dgm:spPr/>
    </dgm:pt>
    <dgm:pt modelId="{DDB6D306-6792-4FA4-AB39-5909D1192D8E}" type="pres">
      <dgm:prSet presAssocID="{D29703C9-8EB7-4999-8C68-389B51069EF1}" presName="conn2-1" presStyleLbl="parChTrans1D2" presStyleIdx="1" presStyleCnt="2"/>
      <dgm:spPr/>
    </dgm:pt>
    <dgm:pt modelId="{BA644F62-A8E8-4DCF-92AC-2ACD216153F7}" type="pres">
      <dgm:prSet presAssocID="{D29703C9-8EB7-4999-8C68-389B51069EF1}" presName="connTx" presStyleLbl="parChTrans1D2" presStyleIdx="1" presStyleCnt="2"/>
      <dgm:spPr/>
    </dgm:pt>
    <dgm:pt modelId="{F389D355-4219-4DD7-9029-76424472C445}" type="pres">
      <dgm:prSet presAssocID="{2E21A58B-EB5F-42F5-9347-9509A158602E}" presName="root2" presStyleCnt="0"/>
      <dgm:spPr/>
    </dgm:pt>
    <dgm:pt modelId="{7717EFBC-05ED-48B3-B1ED-2BF51FDC6A01}" type="pres">
      <dgm:prSet presAssocID="{2E21A58B-EB5F-42F5-9347-9509A158602E}" presName="LevelTwoTextNode" presStyleLbl="node2" presStyleIdx="1" presStyleCnt="2">
        <dgm:presLayoutVars>
          <dgm:chPref val="3"/>
        </dgm:presLayoutVars>
      </dgm:prSet>
      <dgm:spPr/>
    </dgm:pt>
    <dgm:pt modelId="{73D5C91D-7253-4C2D-A813-7889A8EB1D99}" type="pres">
      <dgm:prSet presAssocID="{2E21A58B-EB5F-42F5-9347-9509A158602E}" presName="level3hierChild" presStyleCnt="0"/>
      <dgm:spPr/>
    </dgm:pt>
    <dgm:pt modelId="{C1512A6D-85B3-4FE8-A329-B51884473DA2}" type="pres">
      <dgm:prSet presAssocID="{E2126663-265D-4A35-88BB-960C0E10EA34}" presName="conn2-1" presStyleLbl="parChTrans1D3" presStyleIdx="3" presStyleCnt="6"/>
      <dgm:spPr/>
    </dgm:pt>
    <dgm:pt modelId="{7DC300D4-8415-4668-9EF5-8C5E961BD7DA}" type="pres">
      <dgm:prSet presAssocID="{E2126663-265D-4A35-88BB-960C0E10EA34}" presName="connTx" presStyleLbl="parChTrans1D3" presStyleIdx="3" presStyleCnt="6"/>
      <dgm:spPr/>
    </dgm:pt>
    <dgm:pt modelId="{F2A49CC6-93D7-426D-9FF2-2973B7488138}" type="pres">
      <dgm:prSet presAssocID="{4FFEF35B-C918-4286-8CB5-9E88C06DAD7B}" presName="root2" presStyleCnt="0"/>
      <dgm:spPr/>
    </dgm:pt>
    <dgm:pt modelId="{573E5EDB-E564-41F3-8713-7740FA421B2B}" type="pres">
      <dgm:prSet presAssocID="{4FFEF35B-C918-4286-8CB5-9E88C06DAD7B}" presName="LevelTwoTextNode" presStyleLbl="node3" presStyleIdx="3" presStyleCnt="6">
        <dgm:presLayoutVars>
          <dgm:chPref val="3"/>
        </dgm:presLayoutVars>
      </dgm:prSet>
      <dgm:spPr/>
    </dgm:pt>
    <dgm:pt modelId="{E946AE35-916E-4684-9DB9-A235EF6A6EEA}" type="pres">
      <dgm:prSet presAssocID="{4FFEF35B-C918-4286-8CB5-9E88C06DAD7B}" presName="level3hierChild" presStyleCnt="0"/>
      <dgm:spPr/>
    </dgm:pt>
    <dgm:pt modelId="{08A22D9D-01C5-4BB2-BFCE-AC1FBF38C856}" type="pres">
      <dgm:prSet presAssocID="{CE0298DF-6F30-44AF-8F09-F23F4BC717BA}" presName="conn2-1" presStyleLbl="parChTrans1D3" presStyleIdx="4" presStyleCnt="6"/>
      <dgm:spPr/>
    </dgm:pt>
    <dgm:pt modelId="{B0A12874-B8D3-42F9-AB34-F702A5D20F78}" type="pres">
      <dgm:prSet presAssocID="{CE0298DF-6F30-44AF-8F09-F23F4BC717BA}" presName="connTx" presStyleLbl="parChTrans1D3" presStyleIdx="4" presStyleCnt="6"/>
      <dgm:spPr/>
    </dgm:pt>
    <dgm:pt modelId="{D2398883-CE6E-40E7-A632-0B7E4D7FFE56}" type="pres">
      <dgm:prSet presAssocID="{E5E6D1AE-55AF-4394-AEEF-E3633AD6ADF6}" presName="root2" presStyleCnt="0"/>
      <dgm:spPr/>
    </dgm:pt>
    <dgm:pt modelId="{83A77307-FF2F-444B-B7E4-9D484F0A4076}" type="pres">
      <dgm:prSet presAssocID="{E5E6D1AE-55AF-4394-AEEF-E3633AD6ADF6}" presName="LevelTwoTextNode" presStyleLbl="node3" presStyleIdx="4" presStyleCnt="6">
        <dgm:presLayoutVars>
          <dgm:chPref val="3"/>
        </dgm:presLayoutVars>
      </dgm:prSet>
      <dgm:spPr/>
    </dgm:pt>
    <dgm:pt modelId="{76C404BC-53FE-4513-90E6-B79935C8C2F0}" type="pres">
      <dgm:prSet presAssocID="{E5E6D1AE-55AF-4394-AEEF-E3633AD6ADF6}" presName="level3hierChild" presStyleCnt="0"/>
      <dgm:spPr/>
    </dgm:pt>
    <dgm:pt modelId="{B9238E07-1314-4DDC-A368-5BCD25F6FA60}" type="pres">
      <dgm:prSet presAssocID="{336AAF65-435B-488F-AAAB-61294966C102}" presName="conn2-1" presStyleLbl="parChTrans1D3" presStyleIdx="5" presStyleCnt="6"/>
      <dgm:spPr/>
    </dgm:pt>
    <dgm:pt modelId="{4A41FB5D-89B5-4730-AC33-48CF0E94AEA4}" type="pres">
      <dgm:prSet presAssocID="{336AAF65-435B-488F-AAAB-61294966C102}" presName="connTx" presStyleLbl="parChTrans1D3" presStyleIdx="5" presStyleCnt="6"/>
      <dgm:spPr/>
    </dgm:pt>
    <dgm:pt modelId="{851AF05C-99B1-48A8-8D3D-D59C8192E1FC}" type="pres">
      <dgm:prSet presAssocID="{ACEC517E-F9BB-494B-98AB-B2B6BDF9E078}" presName="root2" presStyleCnt="0"/>
      <dgm:spPr/>
    </dgm:pt>
    <dgm:pt modelId="{C531D248-2817-4EE2-8638-5B5379435DB9}" type="pres">
      <dgm:prSet presAssocID="{ACEC517E-F9BB-494B-98AB-B2B6BDF9E078}" presName="LevelTwoTextNode" presStyleLbl="node3" presStyleIdx="5" presStyleCnt="6">
        <dgm:presLayoutVars>
          <dgm:chPref val="3"/>
        </dgm:presLayoutVars>
      </dgm:prSet>
      <dgm:spPr/>
    </dgm:pt>
    <dgm:pt modelId="{95E667E7-2A86-4AB5-85BC-6BFF0341CFE5}" type="pres">
      <dgm:prSet presAssocID="{ACEC517E-F9BB-494B-98AB-B2B6BDF9E078}" presName="level3hierChild" presStyleCnt="0"/>
      <dgm:spPr/>
    </dgm:pt>
  </dgm:ptLst>
  <dgm:cxnLst>
    <dgm:cxn modelId="{48F49805-3603-48ED-A95E-A06EED3A112B}" type="presOf" srcId="{C387A0A3-502C-49F3-9DF1-D7456DA18578}" destId="{6D3D35C1-4D62-4773-B087-8AF39A121389}" srcOrd="0" destOrd="0" presId="urn:microsoft.com/office/officeart/2008/layout/HorizontalMultiLevelHierarchy"/>
    <dgm:cxn modelId="{1648980A-DEB4-4868-A481-4E3D9F4FF6E7}" type="presOf" srcId="{4FFEF35B-C918-4286-8CB5-9E88C06DAD7B}" destId="{573E5EDB-E564-41F3-8713-7740FA421B2B}" srcOrd="0" destOrd="0" presId="urn:microsoft.com/office/officeart/2008/layout/HorizontalMultiLevelHierarchy"/>
    <dgm:cxn modelId="{B4043115-81B7-4D06-AA03-C4673D6DC77F}" srcId="{868E0F24-0E7F-48BB-B982-CCC828F61F6F}" destId="{C387A0A3-502C-49F3-9DF1-D7456DA18578}" srcOrd="0" destOrd="0" parTransId="{9E704908-D121-4580-BD2F-17F9A4A7CE88}" sibTransId="{78303FB4-513C-427F-BBF2-55EF983B53D5}"/>
    <dgm:cxn modelId="{250E2D1B-1D67-4ECF-B763-5C99D7CCF583}" type="presOf" srcId="{2E21A58B-EB5F-42F5-9347-9509A158602E}" destId="{7717EFBC-05ED-48B3-B1ED-2BF51FDC6A01}" srcOrd="0" destOrd="0" presId="urn:microsoft.com/office/officeart/2008/layout/HorizontalMultiLevelHierarchy"/>
    <dgm:cxn modelId="{99612322-4815-4CA8-8510-F79B7A34F4B0}" srcId="{2E21A58B-EB5F-42F5-9347-9509A158602E}" destId="{E5E6D1AE-55AF-4394-AEEF-E3633AD6ADF6}" srcOrd="1" destOrd="0" parTransId="{CE0298DF-6F30-44AF-8F09-F23F4BC717BA}" sibTransId="{68C4B3FE-DB7A-44CC-B31B-68513852A3DB}"/>
    <dgm:cxn modelId="{02F17F2C-6322-4003-B7DB-1C1F8484D64F}" srcId="{2E21A58B-EB5F-42F5-9347-9509A158602E}" destId="{ACEC517E-F9BB-494B-98AB-B2B6BDF9E078}" srcOrd="2" destOrd="0" parTransId="{336AAF65-435B-488F-AAAB-61294966C102}" sibTransId="{76ADE9EB-441C-458A-A6E2-D2369DEAB441}"/>
    <dgm:cxn modelId="{15BDD933-ED1C-4994-BA57-D23729CD3F7B}" type="presOf" srcId="{CE0298DF-6F30-44AF-8F09-F23F4BC717BA}" destId="{B0A12874-B8D3-42F9-AB34-F702A5D20F78}" srcOrd="1" destOrd="0" presId="urn:microsoft.com/office/officeart/2008/layout/HorizontalMultiLevelHierarchy"/>
    <dgm:cxn modelId="{46074E37-E8FD-4BDF-BD33-4A7BA9878C82}" type="presOf" srcId="{B70B6F1F-6528-4DC8-B745-2A45FB00422E}" destId="{0986442E-E3F6-4B6A-8F35-82B64980628B}" srcOrd="0" destOrd="0" presId="urn:microsoft.com/office/officeart/2008/layout/HorizontalMultiLevelHierarchy"/>
    <dgm:cxn modelId="{D0E93F39-8608-4D3C-9D0E-155B642660C8}" type="presOf" srcId="{D29703C9-8EB7-4999-8C68-389B51069EF1}" destId="{BA644F62-A8E8-4DCF-92AC-2ACD216153F7}" srcOrd="1" destOrd="0" presId="urn:microsoft.com/office/officeart/2008/layout/HorizontalMultiLevelHierarchy"/>
    <dgm:cxn modelId="{B472DD40-C262-4DDB-A04A-A82C31C6E006}" type="presOf" srcId="{CE0298DF-6F30-44AF-8F09-F23F4BC717BA}" destId="{08A22D9D-01C5-4BB2-BFCE-AC1FBF38C856}" srcOrd="0" destOrd="0" presId="urn:microsoft.com/office/officeart/2008/layout/HorizontalMultiLevelHierarchy"/>
    <dgm:cxn modelId="{9E63A541-F939-4E8E-8A17-3AA22D30047B}" type="presOf" srcId="{ACEC517E-F9BB-494B-98AB-B2B6BDF9E078}" destId="{C531D248-2817-4EE2-8638-5B5379435DB9}" srcOrd="0" destOrd="0" presId="urn:microsoft.com/office/officeart/2008/layout/HorizontalMultiLevelHierarchy"/>
    <dgm:cxn modelId="{86B9E450-97F4-4810-A336-53377F1D8202}" type="presOf" srcId="{6123CA7B-ADB1-4656-9403-D422A5A13124}" destId="{B149A6CC-7ED1-4CDE-A4BE-D919C76C8943}" srcOrd="0" destOrd="0" presId="urn:microsoft.com/office/officeart/2008/layout/HorizontalMultiLevelHierarchy"/>
    <dgm:cxn modelId="{94624156-66B7-4B75-BE27-AA88865686EB}" type="presOf" srcId="{336AAF65-435B-488F-AAAB-61294966C102}" destId="{B9238E07-1314-4DDC-A368-5BCD25F6FA60}" srcOrd="0" destOrd="0" presId="urn:microsoft.com/office/officeart/2008/layout/HorizontalMultiLevelHierarchy"/>
    <dgm:cxn modelId="{6FD7CC56-96E3-41D7-827C-FC3FFB5028C4}" type="presOf" srcId="{7A3EE138-A2B2-498A-880A-C977821C226A}" destId="{0AB65AAE-E8A7-425B-8E1E-9E338325F8F2}" srcOrd="1" destOrd="0" presId="urn:microsoft.com/office/officeart/2008/layout/HorizontalMultiLevelHierarchy"/>
    <dgm:cxn modelId="{3045EF5C-6A70-4FE7-AA99-05D2969A338D}" type="presOf" srcId="{B70B6F1F-6528-4DC8-B745-2A45FB00422E}" destId="{2E37A001-E346-46C4-A17F-8E03050C9FFA}" srcOrd="1" destOrd="0" presId="urn:microsoft.com/office/officeart/2008/layout/HorizontalMultiLevelHierarchy"/>
    <dgm:cxn modelId="{1D050B60-1F7E-4BC9-A071-3C6DD66644FA}" srcId="{2E21A58B-EB5F-42F5-9347-9509A158602E}" destId="{4FFEF35B-C918-4286-8CB5-9E88C06DAD7B}" srcOrd="0" destOrd="0" parTransId="{E2126663-265D-4A35-88BB-960C0E10EA34}" sibTransId="{961B3039-7F19-4626-A725-BA9699B001C9}"/>
    <dgm:cxn modelId="{F46F146E-9AF3-4605-BBD7-28674CAD4D94}" srcId="{C387A0A3-502C-49F3-9DF1-D7456DA18578}" destId="{122DA66E-187F-45D3-903A-C35A0F82A4ED}" srcOrd="2" destOrd="0" parTransId="{A25DD178-3B31-40DA-A38A-7ACA7369EB52}" sibTransId="{D9858933-65C4-44E4-9EA9-FDBE410F8AAB}"/>
    <dgm:cxn modelId="{2282D17F-575F-4CBA-8D94-F4E00AB73E77}" type="presOf" srcId="{A25DD178-3B31-40DA-A38A-7ACA7369EB52}" destId="{BD517DDF-6059-4E6A-9E0F-CFE867F6D423}" srcOrd="0" destOrd="0" presId="urn:microsoft.com/office/officeart/2008/layout/HorizontalMultiLevelHierarchy"/>
    <dgm:cxn modelId="{C204878B-3DA7-4F18-9ABF-DBB248FF9AC3}" type="presOf" srcId="{868E0F24-0E7F-48BB-B982-CCC828F61F6F}" destId="{96507493-7136-44B9-B4A4-B347FE9A2E14}" srcOrd="0" destOrd="0" presId="urn:microsoft.com/office/officeart/2008/layout/HorizontalMultiLevelHierarchy"/>
    <dgm:cxn modelId="{34381F8D-F71F-4AAE-BD8D-EDF46CB71D8E}" type="presOf" srcId="{A25DD178-3B31-40DA-A38A-7ACA7369EB52}" destId="{332F1B6C-1DF7-4A94-8C40-F9FD261C8096}" srcOrd="1" destOrd="0" presId="urn:microsoft.com/office/officeart/2008/layout/HorizontalMultiLevelHierarchy"/>
    <dgm:cxn modelId="{699C0890-5A8B-4DEA-A145-485FC69FDA2F}" type="presOf" srcId="{9E704908-D121-4580-BD2F-17F9A4A7CE88}" destId="{EA1D381E-68FA-42AB-9A78-584AD5A89C43}" srcOrd="0" destOrd="0" presId="urn:microsoft.com/office/officeart/2008/layout/HorizontalMultiLevelHierarchy"/>
    <dgm:cxn modelId="{993FADA7-3727-455C-A9BF-0FF041B8FBAF}" type="presOf" srcId="{7A3EE138-A2B2-498A-880A-C977821C226A}" destId="{BFF1024D-9BF3-422C-BDFC-2AD8E4235B58}" srcOrd="0" destOrd="0" presId="urn:microsoft.com/office/officeart/2008/layout/HorizontalMultiLevelHierarchy"/>
    <dgm:cxn modelId="{956797A9-6ED6-4BAA-9590-9F1A3F0F84C5}" srcId="{C387A0A3-502C-49F3-9DF1-D7456DA18578}" destId="{8E2A7269-DD49-4856-9551-52CA86EB34E9}" srcOrd="0" destOrd="0" parTransId="{7A3EE138-A2B2-498A-880A-C977821C226A}" sibTransId="{86C6EC7B-A4F8-424E-9A02-4FEFA6F417B5}"/>
    <dgm:cxn modelId="{F78ED2AF-C713-4875-8C58-0BD715E259E7}" type="presOf" srcId="{336AAF65-435B-488F-AAAB-61294966C102}" destId="{4A41FB5D-89B5-4730-AC33-48CF0E94AEA4}" srcOrd="1" destOrd="0" presId="urn:microsoft.com/office/officeart/2008/layout/HorizontalMultiLevelHierarchy"/>
    <dgm:cxn modelId="{76C72DBA-A83F-4D24-B9CF-4BBEDE6836D7}" type="presOf" srcId="{D29703C9-8EB7-4999-8C68-389B51069EF1}" destId="{DDB6D306-6792-4FA4-AB39-5909D1192D8E}" srcOrd="0" destOrd="0" presId="urn:microsoft.com/office/officeart/2008/layout/HorizontalMultiLevelHierarchy"/>
    <dgm:cxn modelId="{A20B11C5-B468-4F42-8AE3-4E718EBE3857}" type="presOf" srcId="{E2126663-265D-4A35-88BB-960C0E10EA34}" destId="{C1512A6D-85B3-4FE8-A329-B51884473DA2}" srcOrd="0" destOrd="0" presId="urn:microsoft.com/office/officeart/2008/layout/HorizontalMultiLevelHierarchy"/>
    <dgm:cxn modelId="{53C9A9CC-1F83-4DE4-A700-041D1E1EDB91}" type="presOf" srcId="{9E704908-D121-4580-BD2F-17F9A4A7CE88}" destId="{0056C859-5060-4E69-B5AA-1B5DCC873852}" srcOrd="1" destOrd="0" presId="urn:microsoft.com/office/officeart/2008/layout/HorizontalMultiLevelHierarchy"/>
    <dgm:cxn modelId="{EAE545CE-95F8-4CCE-A305-5BA748044723}" srcId="{C387A0A3-502C-49F3-9DF1-D7456DA18578}" destId="{172139EA-398A-424F-AA9D-A015F171DCD7}" srcOrd="1" destOrd="0" parTransId="{B70B6F1F-6528-4DC8-B745-2A45FB00422E}" sibTransId="{1D47B882-D6A7-44E6-859F-EAF234DA82A0}"/>
    <dgm:cxn modelId="{069D6FD2-C5DA-4115-A321-C7C0316BE805}" type="presOf" srcId="{E5E6D1AE-55AF-4394-AEEF-E3633AD6ADF6}" destId="{83A77307-FF2F-444B-B7E4-9D484F0A4076}" srcOrd="0" destOrd="0" presId="urn:microsoft.com/office/officeart/2008/layout/HorizontalMultiLevelHierarchy"/>
    <dgm:cxn modelId="{72047AD5-6929-446C-B413-7132F90E8820}" type="presOf" srcId="{8E2A7269-DD49-4856-9551-52CA86EB34E9}" destId="{DEA8EF44-43C6-4893-913D-C1F8B26203FB}" srcOrd="0" destOrd="0" presId="urn:microsoft.com/office/officeart/2008/layout/HorizontalMultiLevelHierarchy"/>
    <dgm:cxn modelId="{297F56D8-F033-440F-AE89-6C97AD82023D}" srcId="{6123CA7B-ADB1-4656-9403-D422A5A13124}" destId="{868E0F24-0E7F-48BB-B982-CCC828F61F6F}" srcOrd="0" destOrd="0" parTransId="{82D2BAA8-12C5-4AA7-B85C-D3E7860F6679}" sibTransId="{32241D9E-FA51-4EE0-995E-8226FCAAC400}"/>
    <dgm:cxn modelId="{35A2E4D9-5900-4877-87B7-9E0A783CBD1C}" type="presOf" srcId="{E2126663-265D-4A35-88BB-960C0E10EA34}" destId="{7DC300D4-8415-4668-9EF5-8C5E961BD7DA}" srcOrd="1" destOrd="0" presId="urn:microsoft.com/office/officeart/2008/layout/HorizontalMultiLevelHierarchy"/>
    <dgm:cxn modelId="{C5AA08EB-1DEF-4762-B733-93C6332AC292}" srcId="{868E0F24-0E7F-48BB-B982-CCC828F61F6F}" destId="{2E21A58B-EB5F-42F5-9347-9509A158602E}" srcOrd="1" destOrd="0" parTransId="{D29703C9-8EB7-4999-8C68-389B51069EF1}" sibTransId="{189A06D0-A20D-42B2-893D-4B201FD40662}"/>
    <dgm:cxn modelId="{5482B4F8-C9EA-439D-BC8F-5DCEC607A8FE}" type="presOf" srcId="{172139EA-398A-424F-AA9D-A015F171DCD7}" destId="{1EDC8CB0-6C45-4376-B26D-F866E91F1A0F}" srcOrd="0" destOrd="0" presId="urn:microsoft.com/office/officeart/2008/layout/HorizontalMultiLevelHierarchy"/>
    <dgm:cxn modelId="{E301D6FD-C234-48FE-9620-5F1DDDE36435}" type="presOf" srcId="{122DA66E-187F-45D3-903A-C35A0F82A4ED}" destId="{A3851030-829F-49A1-9847-E4CD1F7A7C4C}" srcOrd="0" destOrd="0" presId="urn:microsoft.com/office/officeart/2008/layout/HorizontalMultiLevelHierarchy"/>
    <dgm:cxn modelId="{5EFE31F7-CC71-4588-8DBA-F827A80B9BCF}" type="presParOf" srcId="{B149A6CC-7ED1-4CDE-A4BE-D919C76C8943}" destId="{92934B94-570C-4727-83D2-097659158B55}" srcOrd="0" destOrd="0" presId="urn:microsoft.com/office/officeart/2008/layout/HorizontalMultiLevelHierarchy"/>
    <dgm:cxn modelId="{7E3AF170-21E3-42ED-91F6-B8877C582DBA}" type="presParOf" srcId="{92934B94-570C-4727-83D2-097659158B55}" destId="{96507493-7136-44B9-B4A4-B347FE9A2E14}" srcOrd="0" destOrd="0" presId="urn:microsoft.com/office/officeart/2008/layout/HorizontalMultiLevelHierarchy"/>
    <dgm:cxn modelId="{94C0D688-7994-4E85-9DF7-FE98B4D6B44D}" type="presParOf" srcId="{92934B94-570C-4727-83D2-097659158B55}" destId="{8CBBECFF-4CD2-4729-8724-727EC5CCBC7C}" srcOrd="1" destOrd="0" presId="urn:microsoft.com/office/officeart/2008/layout/HorizontalMultiLevelHierarchy"/>
    <dgm:cxn modelId="{C8A11015-85E1-464C-986E-0CCEC8B5C760}" type="presParOf" srcId="{8CBBECFF-4CD2-4729-8724-727EC5CCBC7C}" destId="{EA1D381E-68FA-42AB-9A78-584AD5A89C43}" srcOrd="0" destOrd="0" presId="urn:microsoft.com/office/officeart/2008/layout/HorizontalMultiLevelHierarchy"/>
    <dgm:cxn modelId="{FF88F4E6-EC41-4F7A-90A7-6B93F47D747C}" type="presParOf" srcId="{EA1D381E-68FA-42AB-9A78-584AD5A89C43}" destId="{0056C859-5060-4E69-B5AA-1B5DCC873852}" srcOrd="0" destOrd="0" presId="urn:microsoft.com/office/officeart/2008/layout/HorizontalMultiLevelHierarchy"/>
    <dgm:cxn modelId="{B6EFF6B1-FA93-40DE-9140-9A0D689EE9FB}" type="presParOf" srcId="{8CBBECFF-4CD2-4729-8724-727EC5CCBC7C}" destId="{E1DA3EA6-2087-4DAD-A5CC-52BB611A598D}" srcOrd="1" destOrd="0" presId="urn:microsoft.com/office/officeart/2008/layout/HorizontalMultiLevelHierarchy"/>
    <dgm:cxn modelId="{5E20EB0C-EAF6-4FEF-A2C7-CE6B173832A7}" type="presParOf" srcId="{E1DA3EA6-2087-4DAD-A5CC-52BB611A598D}" destId="{6D3D35C1-4D62-4773-B087-8AF39A121389}" srcOrd="0" destOrd="0" presId="urn:microsoft.com/office/officeart/2008/layout/HorizontalMultiLevelHierarchy"/>
    <dgm:cxn modelId="{BD787FBB-DD2B-4F81-B525-082398FF2779}" type="presParOf" srcId="{E1DA3EA6-2087-4DAD-A5CC-52BB611A598D}" destId="{3F56E59B-0DE8-4182-AD6B-981DBCA58F73}" srcOrd="1" destOrd="0" presId="urn:microsoft.com/office/officeart/2008/layout/HorizontalMultiLevelHierarchy"/>
    <dgm:cxn modelId="{E1A33405-7197-4220-8865-CF8858DF78BB}" type="presParOf" srcId="{3F56E59B-0DE8-4182-AD6B-981DBCA58F73}" destId="{BFF1024D-9BF3-422C-BDFC-2AD8E4235B58}" srcOrd="0" destOrd="0" presId="urn:microsoft.com/office/officeart/2008/layout/HorizontalMultiLevelHierarchy"/>
    <dgm:cxn modelId="{CF2E2EBA-3180-40F5-8146-06E8B71ACF13}" type="presParOf" srcId="{BFF1024D-9BF3-422C-BDFC-2AD8E4235B58}" destId="{0AB65AAE-E8A7-425B-8E1E-9E338325F8F2}" srcOrd="0" destOrd="0" presId="urn:microsoft.com/office/officeart/2008/layout/HorizontalMultiLevelHierarchy"/>
    <dgm:cxn modelId="{52D315DF-D648-4961-A595-7C35E92D7D39}" type="presParOf" srcId="{3F56E59B-0DE8-4182-AD6B-981DBCA58F73}" destId="{8D481E99-7076-4AC1-9298-6064980478B1}" srcOrd="1" destOrd="0" presId="urn:microsoft.com/office/officeart/2008/layout/HorizontalMultiLevelHierarchy"/>
    <dgm:cxn modelId="{5CC855AC-BF23-4252-9F4C-B791A53BC414}" type="presParOf" srcId="{8D481E99-7076-4AC1-9298-6064980478B1}" destId="{DEA8EF44-43C6-4893-913D-C1F8B26203FB}" srcOrd="0" destOrd="0" presId="urn:microsoft.com/office/officeart/2008/layout/HorizontalMultiLevelHierarchy"/>
    <dgm:cxn modelId="{121F9B85-8D86-49CB-8269-1B5CFE4072A7}" type="presParOf" srcId="{8D481E99-7076-4AC1-9298-6064980478B1}" destId="{2AE28B41-130B-4940-B734-830B4A25CFBC}" srcOrd="1" destOrd="0" presId="urn:microsoft.com/office/officeart/2008/layout/HorizontalMultiLevelHierarchy"/>
    <dgm:cxn modelId="{AB14410A-BAC6-4D20-87FD-DE3B3BDB1C01}" type="presParOf" srcId="{3F56E59B-0DE8-4182-AD6B-981DBCA58F73}" destId="{0986442E-E3F6-4B6A-8F35-82B64980628B}" srcOrd="2" destOrd="0" presId="urn:microsoft.com/office/officeart/2008/layout/HorizontalMultiLevelHierarchy"/>
    <dgm:cxn modelId="{FDED815E-AD07-4D96-AAEA-67493808D8C6}" type="presParOf" srcId="{0986442E-E3F6-4B6A-8F35-82B64980628B}" destId="{2E37A001-E346-46C4-A17F-8E03050C9FFA}" srcOrd="0" destOrd="0" presId="urn:microsoft.com/office/officeart/2008/layout/HorizontalMultiLevelHierarchy"/>
    <dgm:cxn modelId="{1C902642-3086-4070-9827-6FF15F907EEC}" type="presParOf" srcId="{3F56E59B-0DE8-4182-AD6B-981DBCA58F73}" destId="{4D9AFEC9-E432-4FCE-B5EF-AF0A7CF18E3C}" srcOrd="3" destOrd="0" presId="urn:microsoft.com/office/officeart/2008/layout/HorizontalMultiLevelHierarchy"/>
    <dgm:cxn modelId="{0B407EEA-7A20-4B12-B835-6F387FEB9CF3}" type="presParOf" srcId="{4D9AFEC9-E432-4FCE-B5EF-AF0A7CF18E3C}" destId="{1EDC8CB0-6C45-4376-B26D-F866E91F1A0F}" srcOrd="0" destOrd="0" presId="urn:microsoft.com/office/officeart/2008/layout/HorizontalMultiLevelHierarchy"/>
    <dgm:cxn modelId="{BE4677B7-4EF2-4B58-A1B8-C327AD40758C}" type="presParOf" srcId="{4D9AFEC9-E432-4FCE-B5EF-AF0A7CF18E3C}" destId="{F44AE88A-92A9-4E3E-966F-C62FC9829BCC}" srcOrd="1" destOrd="0" presId="urn:microsoft.com/office/officeart/2008/layout/HorizontalMultiLevelHierarchy"/>
    <dgm:cxn modelId="{59EDE90B-14B1-43BB-898D-4322241FEF0C}" type="presParOf" srcId="{3F56E59B-0DE8-4182-AD6B-981DBCA58F73}" destId="{BD517DDF-6059-4E6A-9E0F-CFE867F6D423}" srcOrd="4" destOrd="0" presId="urn:microsoft.com/office/officeart/2008/layout/HorizontalMultiLevelHierarchy"/>
    <dgm:cxn modelId="{E05F4F5E-866C-4CF6-88ED-9DF2AA7504B4}" type="presParOf" srcId="{BD517DDF-6059-4E6A-9E0F-CFE867F6D423}" destId="{332F1B6C-1DF7-4A94-8C40-F9FD261C8096}" srcOrd="0" destOrd="0" presId="urn:microsoft.com/office/officeart/2008/layout/HorizontalMultiLevelHierarchy"/>
    <dgm:cxn modelId="{7AFB6217-FB19-4132-AE21-10399BF6653A}" type="presParOf" srcId="{3F56E59B-0DE8-4182-AD6B-981DBCA58F73}" destId="{00BE2A49-9149-4DC1-8B42-4FB699E606AC}" srcOrd="5" destOrd="0" presId="urn:microsoft.com/office/officeart/2008/layout/HorizontalMultiLevelHierarchy"/>
    <dgm:cxn modelId="{2AD7E431-E05F-4251-8C08-2E92ED7DE0EA}" type="presParOf" srcId="{00BE2A49-9149-4DC1-8B42-4FB699E606AC}" destId="{A3851030-829F-49A1-9847-E4CD1F7A7C4C}" srcOrd="0" destOrd="0" presId="urn:microsoft.com/office/officeart/2008/layout/HorizontalMultiLevelHierarchy"/>
    <dgm:cxn modelId="{6F1506DF-8372-4C47-BAB2-AB5F6743B0EC}" type="presParOf" srcId="{00BE2A49-9149-4DC1-8B42-4FB699E606AC}" destId="{64875D9F-EE90-4EAA-952C-FCC5EFC2D89E}" srcOrd="1" destOrd="0" presId="urn:microsoft.com/office/officeart/2008/layout/HorizontalMultiLevelHierarchy"/>
    <dgm:cxn modelId="{1552407D-8D62-4E3D-940B-0FEF81D474A7}" type="presParOf" srcId="{8CBBECFF-4CD2-4729-8724-727EC5CCBC7C}" destId="{DDB6D306-6792-4FA4-AB39-5909D1192D8E}" srcOrd="2" destOrd="0" presId="urn:microsoft.com/office/officeart/2008/layout/HorizontalMultiLevelHierarchy"/>
    <dgm:cxn modelId="{7BB19624-F1F2-47AC-8278-9AAEA977CEB5}" type="presParOf" srcId="{DDB6D306-6792-4FA4-AB39-5909D1192D8E}" destId="{BA644F62-A8E8-4DCF-92AC-2ACD216153F7}" srcOrd="0" destOrd="0" presId="urn:microsoft.com/office/officeart/2008/layout/HorizontalMultiLevelHierarchy"/>
    <dgm:cxn modelId="{3177325B-C597-450B-A30C-E65DEAA16D08}" type="presParOf" srcId="{8CBBECFF-4CD2-4729-8724-727EC5CCBC7C}" destId="{F389D355-4219-4DD7-9029-76424472C445}" srcOrd="3" destOrd="0" presId="urn:microsoft.com/office/officeart/2008/layout/HorizontalMultiLevelHierarchy"/>
    <dgm:cxn modelId="{ED1149DD-71B6-4EE8-9257-C08797144A51}" type="presParOf" srcId="{F389D355-4219-4DD7-9029-76424472C445}" destId="{7717EFBC-05ED-48B3-B1ED-2BF51FDC6A01}" srcOrd="0" destOrd="0" presId="urn:microsoft.com/office/officeart/2008/layout/HorizontalMultiLevelHierarchy"/>
    <dgm:cxn modelId="{0E5B7DCD-7B2F-4C04-86A1-D8078D9DE3C4}" type="presParOf" srcId="{F389D355-4219-4DD7-9029-76424472C445}" destId="{73D5C91D-7253-4C2D-A813-7889A8EB1D99}" srcOrd="1" destOrd="0" presId="urn:microsoft.com/office/officeart/2008/layout/HorizontalMultiLevelHierarchy"/>
    <dgm:cxn modelId="{EEFFC3CC-49BB-452A-BE40-D8A0DC740A66}" type="presParOf" srcId="{73D5C91D-7253-4C2D-A813-7889A8EB1D99}" destId="{C1512A6D-85B3-4FE8-A329-B51884473DA2}" srcOrd="0" destOrd="0" presId="urn:microsoft.com/office/officeart/2008/layout/HorizontalMultiLevelHierarchy"/>
    <dgm:cxn modelId="{29F850BE-8ABB-4E4E-9A0C-54E89412DA1C}" type="presParOf" srcId="{C1512A6D-85B3-4FE8-A329-B51884473DA2}" destId="{7DC300D4-8415-4668-9EF5-8C5E961BD7DA}" srcOrd="0" destOrd="0" presId="urn:microsoft.com/office/officeart/2008/layout/HorizontalMultiLevelHierarchy"/>
    <dgm:cxn modelId="{2C3CE330-5FB9-4F8F-AECF-DB97D6A95779}" type="presParOf" srcId="{73D5C91D-7253-4C2D-A813-7889A8EB1D99}" destId="{F2A49CC6-93D7-426D-9FF2-2973B7488138}" srcOrd="1" destOrd="0" presId="urn:microsoft.com/office/officeart/2008/layout/HorizontalMultiLevelHierarchy"/>
    <dgm:cxn modelId="{C58F916F-100E-44EC-A425-474ACBEA73CC}" type="presParOf" srcId="{F2A49CC6-93D7-426D-9FF2-2973B7488138}" destId="{573E5EDB-E564-41F3-8713-7740FA421B2B}" srcOrd="0" destOrd="0" presId="urn:microsoft.com/office/officeart/2008/layout/HorizontalMultiLevelHierarchy"/>
    <dgm:cxn modelId="{B2EE755F-1D14-436F-A804-5B2D2D31404A}" type="presParOf" srcId="{F2A49CC6-93D7-426D-9FF2-2973B7488138}" destId="{E946AE35-916E-4684-9DB9-A235EF6A6EEA}" srcOrd="1" destOrd="0" presId="urn:microsoft.com/office/officeart/2008/layout/HorizontalMultiLevelHierarchy"/>
    <dgm:cxn modelId="{80AB8A90-F97A-4C18-A07E-22720E020F08}" type="presParOf" srcId="{73D5C91D-7253-4C2D-A813-7889A8EB1D99}" destId="{08A22D9D-01C5-4BB2-BFCE-AC1FBF38C856}" srcOrd="2" destOrd="0" presId="urn:microsoft.com/office/officeart/2008/layout/HorizontalMultiLevelHierarchy"/>
    <dgm:cxn modelId="{A1A605D3-8F53-4F19-8345-AFDD10DF695A}" type="presParOf" srcId="{08A22D9D-01C5-4BB2-BFCE-AC1FBF38C856}" destId="{B0A12874-B8D3-42F9-AB34-F702A5D20F78}" srcOrd="0" destOrd="0" presId="urn:microsoft.com/office/officeart/2008/layout/HorizontalMultiLevelHierarchy"/>
    <dgm:cxn modelId="{E91AB7A6-9E25-4B18-9960-2C34A2AA23AA}" type="presParOf" srcId="{73D5C91D-7253-4C2D-A813-7889A8EB1D99}" destId="{D2398883-CE6E-40E7-A632-0B7E4D7FFE56}" srcOrd="3" destOrd="0" presId="urn:microsoft.com/office/officeart/2008/layout/HorizontalMultiLevelHierarchy"/>
    <dgm:cxn modelId="{770636C9-507D-416E-9268-18213A9D3D6D}" type="presParOf" srcId="{D2398883-CE6E-40E7-A632-0B7E4D7FFE56}" destId="{83A77307-FF2F-444B-B7E4-9D484F0A4076}" srcOrd="0" destOrd="0" presId="urn:microsoft.com/office/officeart/2008/layout/HorizontalMultiLevelHierarchy"/>
    <dgm:cxn modelId="{024A7E4C-A633-421D-B42D-5502B9F2C75E}" type="presParOf" srcId="{D2398883-CE6E-40E7-A632-0B7E4D7FFE56}" destId="{76C404BC-53FE-4513-90E6-B79935C8C2F0}" srcOrd="1" destOrd="0" presId="urn:microsoft.com/office/officeart/2008/layout/HorizontalMultiLevelHierarchy"/>
    <dgm:cxn modelId="{9AE3E740-5BD5-4A70-8CDA-6CD7E6FBF76F}" type="presParOf" srcId="{73D5C91D-7253-4C2D-A813-7889A8EB1D99}" destId="{B9238E07-1314-4DDC-A368-5BCD25F6FA60}" srcOrd="4" destOrd="0" presId="urn:microsoft.com/office/officeart/2008/layout/HorizontalMultiLevelHierarchy"/>
    <dgm:cxn modelId="{A27928B2-1FF8-443C-95C4-555B214277A6}" type="presParOf" srcId="{B9238E07-1314-4DDC-A368-5BCD25F6FA60}" destId="{4A41FB5D-89B5-4730-AC33-48CF0E94AEA4}" srcOrd="0" destOrd="0" presId="urn:microsoft.com/office/officeart/2008/layout/HorizontalMultiLevelHierarchy"/>
    <dgm:cxn modelId="{B530796A-A85E-4B44-A639-5923F968DCAB}" type="presParOf" srcId="{73D5C91D-7253-4C2D-A813-7889A8EB1D99}" destId="{851AF05C-99B1-48A8-8D3D-D59C8192E1FC}" srcOrd="5" destOrd="0" presId="urn:microsoft.com/office/officeart/2008/layout/HorizontalMultiLevelHierarchy"/>
    <dgm:cxn modelId="{A59ECD38-38A5-4983-96AA-C7510D33C64F}" type="presParOf" srcId="{851AF05C-99B1-48A8-8D3D-D59C8192E1FC}" destId="{C531D248-2817-4EE2-8638-5B5379435DB9}" srcOrd="0" destOrd="0" presId="urn:microsoft.com/office/officeart/2008/layout/HorizontalMultiLevelHierarchy"/>
    <dgm:cxn modelId="{3AD7120D-3B17-4477-B99F-A0545CAF9B56}" type="presParOf" srcId="{851AF05C-99B1-48A8-8D3D-D59C8192E1FC}" destId="{95E667E7-2A86-4AB5-85BC-6BFF0341CFE5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3014DF1-E5B3-4C29-94AB-703435537568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AAA2C2FB-45EA-4FF8-AE03-DDD07F8C4DC3}">
      <dgm:prSet phldrT="[Text]"/>
      <dgm:spPr/>
      <dgm:t>
        <a:bodyPr/>
        <a:lstStyle/>
        <a:p>
          <a:r>
            <a:rPr lang="en-US" dirty="0"/>
            <a:t>Deployment pipeline</a:t>
          </a:r>
          <a:endParaRPr lang="nl-NL" dirty="0"/>
        </a:p>
      </dgm:t>
    </dgm:pt>
    <dgm:pt modelId="{7E094B89-DFC9-47E5-85D4-20678219EE58}" type="parTrans" cxnId="{532D1A47-469F-40F9-9BE1-7E2820D92E1D}">
      <dgm:prSet/>
      <dgm:spPr/>
      <dgm:t>
        <a:bodyPr/>
        <a:lstStyle/>
        <a:p>
          <a:endParaRPr lang="nl-NL"/>
        </a:p>
      </dgm:t>
    </dgm:pt>
    <dgm:pt modelId="{15BA6785-B178-4DD3-85EC-8922EFFD9417}" type="sibTrans" cxnId="{532D1A47-469F-40F9-9BE1-7E2820D92E1D}">
      <dgm:prSet/>
      <dgm:spPr/>
      <dgm:t>
        <a:bodyPr/>
        <a:lstStyle/>
        <a:p>
          <a:endParaRPr lang="nl-NL"/>
        </a:p>
      </dgm:t>
    </dgm:pt>
    <dgm:pt modelId="{93CB8C43-2EF0-4BBF-9F0A-8A7D5ACA086D}">
      <dgm:prSet phldrT="[Text]"/>
      <dgm:spPr/>
      <dgm:t>
        <a:bodyPr/>
        <a:lstStyle/>
        <a:p>
          <a:r>
            <a:rPr lang="en-US" dirty="0"/>
            <a:t>Infrastructure as Code</a:t>
          </a:r>
          <a:endParaRPr lang="nl-NL" dirty="0"/>
        </a:p>
      </dgm:t>
    </dgm:pt>
    <dgm:pt modelId="{8DFDA5BE-F9C2-4706-A513-00087AF2D741}" type="parTrans" cxnId="{23D21CFD-BAE3-4E4F-93F6-6B0A6866E52B}">
      <dgm:prSet/>
      <dgm:spPr/>
      <dgm:t>
        <a:bodyPr/>
        <a:lstStyle/>
        <a:p>
          <a:endParaRPr lang="nl-NL"/>
        </a:p>
      </dgm:t>
    </dgm:pt>
    <dgm:pt modelId="{A434DC83-523E-4363-9272-DE6B989B8C99}" type="sibTrans" cxnId="{23D21CFD-BAE3-4E4F-93F6-6B0A6866E52B}">
      <dgm:prSet/>
      <dgm:spPr/>
      <dgm:t>
        <a:bodyPr/>
        <a:lstStyle/>
        <a:p>
          <a:endParaRPr lang="nl-NL"/>
        </a:p>
      </dgm:t>
    </dgm:pt>
    <dgm:pt modelId="{67141EC9-437D-4796-BCC7-FFFC9437C015}">
      <dgm:prSet phldrT="[Text]"/>
      <dgm:spPr/>
      <dgm:t>
        <a:bodyPr/>
        <a:lstStyle/>
        <a:p>
          <a:r>
            <a:rPr lang="en-US" dirty="0"/>
            <a:t>Azure Key Vault</a:t>
          </a:r>
          <a:endParaRPr lang="nl-NL" dirty="0"/>
        </a:p>
      </dgm:t>
    </dgm:pt>
    <dgm:pt modelId="{7CB06276-6BC1-467E-BB4D-AA129689506F}" type="parTrans" cxnId="{89C0C52A-628C-492F-A93C-4A64910AED01}">
      <dgm:prSet/>
      <dgm:spPr/>
      <dgm:t>
        <a:bodyPr/>
        <a:lstStyle/>
        <a:p>
          <a:endParaRPr lang="nl-NL"/>
        </a:p>
      </dgm:t>
    </dgm:pt>
    <dgm:pt modelId="{1816AAD6-C252-4A66-97C3-7CA869D70D92}" type="sibTrans" cxnId="{89C0C52A-628C-492F-A93C-4A64910AED01}">
      <dgm:prSet/>
      <dgm:spPr/>
      <dgm:t>
        <a:bodyPr/>
        <a:lstStyle/>
        <a:p>
          <a:endParaRPr lang="nl-NL"/>
        </a:p>
      </dgm:t>
    </dgm:pt>
    <dgm:pt modelId="{313186C3-EDE3-43B0-8F1D-843CA2869F74}">
      <dgm:prSet phldrT="[Text]"/>
      <dgm:spPr/>
      <dgm:t>
        <a:bodyPr/>
        <a:lstStyle/>
        <a:p>
          <a:r>
            <a:rPr lang="en-US" dirty="0"/>
            <a:t>Managed Identities</a:t>
          </a:r>
          <a:endParaRPr lang="nl-NL" dirty="0"/>
        </a:p>
      </dgm:t>
    </dgm:pt>
    <dgm:pt modelId="{5BBE2D5D-81BC-4431-8AF7-A5CBD211338B}" type="parTrans" cxnId="{AB662CB7-87D8-4623-AD57-FFE26A613BC0}">
      <dgm:prSet/>
      <dgm:spPr/>
      <dgm:t>
        <a:bodyPr/>
        <a:lstStyle/>
        <a:p>
          <a:endParaRPr lang="nl-NL"/>
        </a:p>
      </dgm:t>
    </dgm:pt>
    <dgm:pt modelId="{CEACB1E3-2954-485A-B87C-9D28AEC4E9AF}" type="sibTrans" cxnId="{AB662CB7-87D8-4623-AD57-FFE26A613BC0}">
      <dgm:prSet/>
      <dgm:spPr/>
      <dgm:t>
        <a:bodyPr/>
        <a:lstStyle/>
        <a:p>
          <a:endParaRPr lang="nl-NL"/>
        </a:p>
      </dgm:t>
    </dgm:pt>
    <dgm:pt modelId="{8B641721-381B-4D3D-945F-F2739A045D5A}">
      <dgm:prSet phldrT="[Text]"/>
      <dgm:spPr/>
      <dgm:t>
        <a:bodyPr/>
        <a:lstStyle/>
        <a:p>
          <a:r>
            <a:rPr lang="en-US" dirty="0"/>
            <a:t>Static Analysis</a:t>
          </a:r>
          <a:endParaRPr lang="nl-NL" dirty="0"/>
        </a:p>
      </dgm:t>
    </dgm:pt>
    <dgm:pt modelId="{CCC890BB-A5A4-42D2-861A-14E2602A1E18}" type="parTrans" cxnId="{80F31A7F-E46A-42DA-B57D-A7968252CDA0}">
      <dgm:prSet/>
      <dgm:spPr/>
      <dgm:t>
        <a:bodyPr/>
        <a:lstStyle/>
        <a:p>
          <a:endParaRPr lang="nl-NL"/>
        </a:p>
      </dgm:t>
    </dgm:pt>
    <dgm:pt modelId="{BE556790-04E6-4E99-ACEA-488E2014CBCC}" type="sibTrans" cxnId="{80F31A7F-E46A-42DA-B57D-A7968252CDA0}">
      <dgm:prSet/>
      <dgm:spPr/>
      <dgm:t>
        <a:bodyPr/>
        <a:lstStyle/>
        <a:p>
          <a:endParaRPr lang="nl-NL"/>
        </a:p>
      </dgm:t>
    </dgm:pt>
    <dgm:pt modelId="{1C9FA018-1980-4AAC-9E66-9D0C37CB4D12}">
      <dgm:prSet phldrT="[Text]"/>
      <dgm:spPr/>
      <dgm:t>
        <a:bodyPr/>
        <a:lstStyle/>
        <a:p>
          <a:r>
            <a:rPr lang="en-US" dirty="0"/>
            <a:t>Runtime monitoring</a:t>
          </a:r>
          <a:endParaRPr lang="nl-NL" dirty="0"/>
        </a:p>
      </dgm:t>
    </dgm:pt>
    <dgm:pt modelId="{A2FFF931-5C32-4298-966E-4F245693AC65}" type="parTrans" cxnId="{D61331C8-CD40-4F43-B1E3-7996B6E30CA0}">
      <dgm:prSet/>
      <dgm:spPr/>
      <dgm:t>
        <a:bodyPr/>
        <a:lstStyle/>
        <a:p>
          <a:endParaRPr lang="nl-NL"/>
        </a:p>
      </dgm:t>
    </dgm:pt>
    <dgm:pt modelId="{916B34D6-F444-434F-9D9D-2E8F9EF74A70}" type="sibTrans" cxnId="{D61331C8-CD40-4F43-B1E3-7996B6E30CA0}">
      <dgm:prSet/>
      <dgm:spPr/>
      <dgm:t>
        <a:bodyPr/>
        <a:lstStyle/>
        <a:p>
          <a:endParaRPr lang="nl-NL"/>
        </a:p>
      </dgm:t>
    </dgm:pt>
    <dgm:pt modelId="{DA70BD48-6BCC-4914-8F49-9AA6744CB529}">
      <dgm:prSet phldrT="[Text]"/>
      <dgm:spPr/>
      <dgm:t>
        <a:bodyPr/>
        <a:lstStyle/>
        <a:p>
          <a:r>
            <a:rPr lang="en-US" dirty="0"/>
            <a:t>Azure Security Center</a:t>
          </a:r>
          <a:endParaRPr lang="nl-NL" dirty="0"/>
        </a:p>
      </dgm:t>
    </dgm:pt>
    <dgm:pt modelId="{EF20A570-5EA1-4D73-84D4-4C7747058F38}" type="parTrans" cxnId="{BE46673C-4558-4BF5-A88F-305ABFCDF5FF}">
      <dgm:prSet/>
      <dgm:spPr/>
      <dgm:t>
        <a:bodyPr/>
        <a:lstStyle/>
        <a:p>
          <a:endParaRPr lang="nl-NL"/>
        </a:p>
      </dgm:t>
    </dgm:pt>
    <dgm:pt modelId="{3F9B3D5D-6081-4949-B38D-E495F663C94E}" type="sibTrans" cxnId="{BE46673C-4558-4BF5-A88F-305ABFCDF5FF}">
      <dgm:prSet/>
      <dgm:spPr/>
      <dgm:t>
        <a:bodyPr/>
        <a:lstStyle/>
        <a:p>
          <a:endParaRPr lang="nl-NL"/>
        </a:p>
      </dgm:t>
    </dgm:pt>
    <dgm:pt modelId="{129E4E32-2B5F-4C36-BD04-413BFD723840}">
      <dgm:prSet phldrT="[Text]"/>
      <dgm:spPr/>
      <dgm:t>
        <a:bodyPr/>
        <a:lstStyle/>
        <a:p>
          <a:r>
            <a:rPr lang="en-US" dirty="0"/>
            <a:t>Azure Sentinel</a:t>
          </a:r>
          <a:endParaRPr lang="nl-NL" dirty="0"/>
        </a:p>
      </dgm:t>
    </dgm:pt>
    <dgm:pt modelId="{20D2CEE3-F155-4572-8593-9C39EFACC165}" type="parTrans" cxnId="{A83286FC-3073-4971-9441-1CCAA77B311A}">
      <dgm:prSet/>
      <dgm:spPr/>
      <dgm:t>
        <a:bodyPr/>
        <a:lstStyle/>
        <a:p>
          <a:endParaRPr lang="nl-NL"/>
        </a:p>
      </dgm:t>
    </dgm:pt>
    <dgm:pt modelId="{9EDE066C-3A25-4463-953E-54E01C922BA7}" type="sibTrans" cxnId="{A83286FC-3073-4971-9441-1CCAA77B311A}">
      <dgm:prSet/>
      <dgm:spPr/>
      <dgm:t>
        <a:bodyPr/>
        <a:lstStyle/>
        <a:p>
          <a:endParaRPr lang="nl-NL"/>
        </a:p>
      </dgm:t>
    </dgm:pt>
    <dgm:pt modelId="{5C30927A-E862-4716-90C5-69C3D5A245D9}">
      <dgm:prSet phldrT="[Text]"/>
      <dgm:spPr/>
      <dgm:t>
        <a:bodyPr/>
        <a:lstStyle/>
        <a:p>
          <a:r>
            <a:rPr lang="en-US" dirty="0"/>
            <a:t>Red vs Blue</a:t>
          </a:r>
          <a:endParaRPr lang="nl-NL" dirty="0"/>
        </a:p>
      </dgm:t>
    </dgm:pt>
    <dgm:pt modelId="{2C2824D4-B8E6-4967-A1EA-28677C12FA1E}" type="parTrans" cxnId="{B77F6A16-CED0-4317-BFB6-0C5DE7B7AEE8}">
      <dgm:prSet/>
      <dgm:spPr/>
      <dgm:t>
        <a:bodyPr/>
        <a:lstStyle/>
        <a:p>
          <a:endParaRPr lang="nl-NL"/>
        </a:p>
      </dgm:t>
    </dgm:pt>
    <dgm:pt modelId="{FE5B263D-6EDA-43A0-BBAF-4BF00EF34F98}" type="sibTrans" cxnId="{B77F6A16-CED0-4317-BFB6-0C5DE7B7AEE8}">
      <dgm:prSet/>
      <dgm:spPr/>
      <dgm:t>
        <a:bodyPr/>
        <a:lstStyle/>
        <a:p>
          <a:endParaRPr lang="nl-NL"/>
        </a:p>
      </dgm:t>
    </dgm:pt>
    <dgm:pt modelId="{61EDC02C-8604-4857-A763-288B1CA32969}">
      <dgm:prSet phldrT="[Text]"/>
      <dgm:spPr/>
      <dgm:t>
        <a:bodyPr/>
        <a:lstStyle/>
        <a:p>
          <a:r>
            <a:rPr lang="en-US"/>
            <a:t>Shift </a:t>
          </a:r>
          <a:r>
            <a:rPr lang="en-US" dirty="0"/>
            <a:t>left</a:t>
          </a:r>
          <a:endParaRPr lang="nl-NL" dirty="0"/>
        </a:p>
      </dgm:t>
    </dgm:pt>
    <dgm:pt modelId="{08CD2426-82BF-40DA-B292-A2448E344FFF}" type="parTrans" cxnId="{32FD8614-F8F3-4F1F-A267-0EC1F731A581}">
      <dgm:prSet/>
      <dgm:spPr/>
      <dgm:t>
        <a:bodyPr/>
        <a:lstStyle/>
        <a:p>
          <a:endParaRPr lang="nl-NL"/>
        </a:p>
      </dgm:t>
    </dgm:pt>
    <dgm:pt modelId="{9B8E9D64-7AF5-478D-A087-AFE54D034B55}" type="sibTrans" cxnId="{32FD8614-F8F3-4F1F-A267-0EC1F731A581}">
      <dgm:prSet/>
      <dgm:spPr/>
      <dgm:t>
        <a:bodyPr/>
        <a:lstStyle/>
        <a:p>
          <a:endParaRPr lang="nl-NL"/>
        </a:p>
      </dgm:t>
    </dgm:pt>
    <dgm:pt modelId="{92588F4C-CD67-4A07-A391-8128D0AAFFDC}">
      <dgm:prSet phldrT="[Text]"/>
      <dgm:spPr/>
      <dgm:t>
        <a:bodyPr/>
        <a:lstStyle/>
        <a:p>
          <a:r>
            <a:rPr lang="en-US" dirty="0"/>
            <a:t>GitHub</a:t>
          </a:r>
          <a:endParaRPr lang="nl-NL" dirty="0"/>
        </a:p>
      </dgm:t>
    </dgm:pt>
    <dgm:pt modelId="{8040387B-6CC8-492F-9E0B-DE0B19414B0E}" type="parTrans" cxnId="{D311737B-ABD8-4C9C-AD01-82CEDB572446}">
      <dgm:prSet/>
      <dgm:spPr/>
      <dgm:t>
        <a:bodyPr/>
        <a:lstStyle/>
        <a:p>
          <a:endParaRPr lang="nl-NL"/>
        </a:p>
      </dgm:t>
    </dgm:pt>
    <dgm:pt modelId="{A0113EC2-5443-4D3F-97DD-8473494204D8}" type="sibTrans" cxnId="{D311737B-ABD8-4C9C-AD01-82CEDB572446}">
      <dgm:prSet/>
      <dgm:spPr/>
      <dgm:t>
        <a:bodyPr/>
        <a:lstStyle/>
        <a:p>
          <a:endParaRPr lang="nl-NL"/>
        </a:p>
      </dgm:t>
    </dgm:pt>
    <dgm:pt modelId="{20CAD73B-8B2E-405E-A016-7DACE09C14D1}" type="pres">
      <dgm:prSet presAssocID="{43014DF1-E5B3-4C29-94AB-703435537568}" presName="diagram" presStyleCnt="0">
        <dgm:presLayoutVars>
          <dgm:dir/>
          <dgm:resizeHandles val="exact"/>
        </dgm:presLayoutVars>
      </dgm:prSet>
      <dgm:spPr/>
    </dgm:pt>
    <dgm:pt modelId="{FEF5860A-D64B-4B48-8CFD-9840B2CC64C4}" type="pres">
      <dgm:prSet presAssocID="{5C30927A-E862-4716-90C5-69C3D5A245D9}" presName="node" presStyleLbl="node1" presStyleIdx="0" presStyleCnt="11">
        <dgm:presLayoutVars>
          <dgm:bulletEnabled val="1"/>
        </dgm:presLayoutVars>
      </dgm:prSet>
      <dgm:spPr/>
    </dgm:pt>
    <dgm:pt modelId="{FFC1BFC2-94ED-410D-9DE2-88D088993DA7}" type="pres">
      <dgm:prSet presAssocID="{FE5B263D-6EDA-43A0-BBAF-4BF00EF34F98}" presName="sibTrans" presStyleCnt="0"/>
      <dgm:spPr/>
    </dgm:pt>
    <dgm:pt modelId="{B4959DB2-6E83-46B6-B5A9-B097CFADC048}" type="pres">
      <dgm:prSet presAssocID="{61EDC02C-8604-4857-A763-288B1CA32969}" presName="node" presStyleLbl="node1" presStyleIdx="1" presStyleCnt="11">
        <dgm:presLayoutVars>
          <dgm:bulletEnabled val="1"/>
        </dgm:presLayoutVars>
      </dgm:prSet>
      <dgm:spPr/>
    </dgm:pt>
    <dgm:pt modelId="{A9BC7906-BD3F-42DB-BD4A-215A203C721E}" type="pres">
      <dgm:prSet presAssocID="{9B8E9D64-7AF5-478D-A087-AFE54D034B55}" presName="sibTrans" presStyleCnt="0"/>
      <dgm:spPr/>
    </dgm:pt>
    <dgm:pt modelId="{EBAAD436-1703-4DB0-A18D-AABEC0B74CB5}" type="pres">
      <dgm:prSet presAssocID="{AAA2C2FB-45EA-4FF8-AE03-DDD07F8C4DC3}" presName="node" presStyleLbl="node1" presStyleIdx="2" presStyleCnt="11">
        <dgm:presLayoutVars>
          <dgm:bulletEnabled val="1"/>
        </dgm:presLayoutVars>
      </dgm:prSet>
      <dgm:spPr/>
    </dgm:pt>
    <dgm:pt modelId="{E9E9D00A-900B-497D-8636-94930B178FF5}" type="pres">
      <dgm:prSet presAssocID="{15BA6785-B178-4DD3-85EC-8922EFFD9417}" presName="sibTrans" presStyleCnt="0"/>
      <dgm:spPr/>
    </dgm:pt>
    <dgm:pt modelId="{BAF29656-BDA7-478B-9357-28CCCBBB88B6}" type="pres">
      <dgm:prSet presAssocID="{93CB8C43-2EF0-4BBF-9F0A-8A7D5ACA086D}" presName="node" presStyleLbl="node1" presStyleIdx="3" presStyleCnt="11">
        <dgm:presLayoutVars>
          <dgm:bulletEnabled val="1"/>
        </dgm:presLayoutVars>
      </dgm:prSet>
      <dgm:spPr/>
    </dgm:pt>
    <dgm:pt modelId="{E4659D6D-0262-4DF1-851D-B932B24EF757}" type="pres">
      <dgm:prSet presAssocID="{A434DC83-523E-4363-9272-DE6B989B8C99}" presName="sibTrans" presStyleCnt="0"/>
      <dgm:spPr/>
    </dgm:pt>
    <dgm:pt modelId="{62722C4B-0D7D-48BA-A8A6-0914F840D924}" type="pres">
      <dgm:prSet presAssocID="{67141EC9-437D-4796-BCC7-FFFC9437C015}" presName="node" presStyleLbl="node1" presStyleIdx="4" presStyleCnt="11">
        <dgm:presLayoutVars>
          <dgm:bulletEnabled val="1"/>
        </dgm:presLayoutVars>
      </dgm:prSet>
      <dgm:spPr/>
    </dgm:pt>
    <dgm:pt modelId="{7193D0A1-331F-412E-8B42-78D47AC9F079}" type="pres">
      <dgm:prSet presAssocID="{1816AAD6-C252-4A66-97C3-7CA869D70D92}" presName="sibTrans" presStyleCnt="0"/>
      <dgm:spPr/>
    </dgm:pt>
    <dgm:pt modelId="{DF744ED3-A798-4133-A0C6-904785962B0B}" type="pres">
      <dgm:prSet presAssocID="{313186C3-EDE3-43B0-8F1D-843CA2869F74}" presName="node" presStyleLbl="node1" presStyleIdx="5" presStyleCnt="11">
        <dgm:presLayoutVars>
          <dgm:bulletEnabled val="1"/>
        </dgm:presLayoutVars>
      </dgm:prSet>
      <dgm:spPr/>
    </dgm:pt>
    <dgm:pt modelId="{B669D321-8321-4241-B43A-71FDD4A3F2E2}" type="pres">
      <dgm:prSet presAssocID="{CEACB1E3-2954-485A-B87C-9D28AEC4E9AF}" presName="sibTrans" presStyleCnt="0"/>
      <dgm:spPr/>
    </dgm:pt>
    <dgm:pt modelId="{9A6FC898-D3AF-4A1B-8EE7-3ED45C53E4B1}" type="pres">
      <dgm:prSet presAssocID="{8B641721-381B-4D3D-945F-F2739A045D5A}" presName="node" presStyleLbl="node1" presStyleIdx="6" presStyleCnt="11">
        <dgm:presLayoutVars>
          <dgm:bulletEnabled val="1"/>
        </dgm:presLayoutVars>
      </dgm:prSet>
      <dgm:spPr/>
    </dgm:pt>
    <dgm:pt modelId="{326CE54F-5B91-4EEF-B5E9-F1F69D706845}" type="pres">
      <dgm:prSet presAssocID="{BE556790-04E6-4E99-ACEA-488E2014CBCC}" presName="sibTrans" presStyleCnt="0"/>
      <dgm:spPr/>
    </dgm:pt>
    <dgm:pt modelId="{D48714FC-633C-4867-8FBB-0AE79FE3102A}" type="pres">
      <dgm:prSet presAssocID="{1C9FA018-1980-4AAC-9E66-9D0C37CB4D12}" presName="node" presStyleLbl="node1" presStyleIdx="7" presStyleCnt="11">
        <dgm:presLayoutVars>
          <dgm:bulletEnabled val="1"/>
        </dgm:presLayoutVars>
      </dgm:prSet>
      <dgm:spPr/>
    </dgm:pt>
    <dgm:pt modelId="{9E33FD3B-E71E-4F00-9012-70B4ED28E27B}" type="pres">
      <dgm:prSet presAssocID="{916B34D6-F444-434F-9D9D-2E8F9EF74A70}" presName="sibTrans" presStyleCnt="0"/>
      <dgm:spPr/>
    </dgm:pt>
    <dgm:pt modelId="{FB3693F6-40FB-4A06-8AA1-326263670335}" type="pres">
      <dgm:prSet presAssocID="{DA70BD48-6BCC-4914-8F49-9AA6744CB529}" presName="node" presStyleLbl="node1" presStyleIdx="8" presStyleCnt="11">
        <dgm:presLayoutVars>
          <dgm:bulletEnabled val="1"/>
        </dgm:presLayoutVars>
      </dgm:prSet>
      <dgm:spPr/>
    </dgm:pt>
    <dgm:pt modelId="{7258DC8A-DF8E-4306-9611-71DF277467A9}" type="pres">
      <dgm:prSet presAssocID="{3F9B3D5D-6081-4949-B38D-E495F663C94E}" presName="sibTrans" presStyleCnt="0"/>
      <dgm:spPr/>
    </dgm:pt>
    <dgm:pt modelId="{CA7E8887-98E0-40D0-A7C3-35DC109BC450}" type="pres">
      <dgm:prSet presAssocID="{129E4E32-2B5F-4C36-BD04-413BFD723840}" presName="node" presStyleLbl="node1" presStyleIdx="9" presStyleCnt="11">
        <dgm:presLayoutVars>
          <dgm:bulletEnabled val="1"/>
        </dgm:presLayoutVars>
      </dgm:prSet>
      <dgm:spPr/>
    </dgm:pt>
    <dgm:pt modelId="{25ACECA6-34DF-49D2-99BE-A801DB4C4692}" type="pres">
      <dgm:prSet presAssocID="{9EDE066C-3A25-4463-953E-54E01C922BA7}" presName="sibTrans" presStyleCnt="0"/>
      <dgm:spPr/>
    </dgm:pt>
    <dgm:pt modelId="{C7151A2A-E9C8-450D-A0EF-E5D47BBA2C7D}" type="pres">
      <dgm:prSet presAssocID="{92588F4C-CD67-4A07-A391-8128D0AAFFDC}" presName="node" presStyleLbl="node1" presStyleIdx="10" presStyleCnt="11">
        <dgm:presLayoutVars>
          <dgm:bulletEnabled val="1"/>
        </dgm:presLayoutVars>
      </dgm:prSet>
      <dgm:spPr/>
    </dgm:pt>
  </dgm:ptLst>
  <dgm:cxnLst>
    <dgm:cxn modelId="{4F797113-BC02-406A-AC87-F107F4A52BBF}" type="presOf" srcId="{92588F4C-CD67-4A07-A391-8128D0AAFFDC}" destId="{C7151A2A-E9C8-450D-A0EF-E5D47BBA2C7D}" srcOrd="0" destOrd="0" presId="urn:microsoft.com/office/officeart/2005/8/layout/default"/>
    <dgm:cxn modelId="{32FD8614-F8F3-4F1F-A267-0EC1F731A581}" srcId="{43014DF1-E5B3-4C29-94AB-703435537568}" destId="{61EDC02C-8604-4857-A763-288B1CA32969}" srcOrd="1" destOrd="0" parTransId="{08CD2426-82BF-40DA-B292-A2448E344FFF}" sibTransId="{9B8E9D64-7AF5-478D-A087-AFE54D034B55}"/>
    <dgm:cxn modelId="{B77F6A16-CED0-4317-BFB6-0C5DE7B7AEE8}" srcId="{43014DF1-E5B3-4C29-94AB-703435537568}" destId="{5C30927A-E862-4716-90C5-69C3D5A245D9}" srcOrd="0" destOrd="0" parTransId="{2C2824D4-B8E6-4967-A1EA-28677C12FA1E}" sibTransId="{FE5B263D-6EDA-43A0-BBAF-4BF00EF34F98}"/>
    <dgm:cxn modelId="{89C0C52A-628C-492F-A93C-4A64910AED01}" srcId="{43014DF1-E5B3-4C29-94AB-703435537568}" destId="{67141EC9-437D-4796-BCC7-FFFC9437C015}" srcOrd="4" destOrd="0" parTransId="{7CB06276-6BC1-467E-BB4D-AA129689506F}" sibTransId="{1816AAD6-C252-4A66-97C3-7CA869D70D92}"/>
    <dgm:cxn modelId="{BE46673C-4558-4BF5-A88F-305ABFCDF5FF}" srcId="{43014DF1-E5B3-4C29-94AB-703435537568}" destId="{DA70BD48-6BCC-4914-8F49-9AA6744CB529}" srcOrd="8" destOrd="0" parTransId="{EF20A570-5EA1-4D73-84D4-4C7747058F38}" sibTransId="{3F9B3D5D-6081-4949-B38D-E495F663C94E}"/>
    <dgm:cxn modelId="{2CE5AE43-A7CB-4125-8589-8DD8FCF5738B}" type="presOf" srcId="{129E4E32-2B5F-4C36-BD04-413BFD723840}" destId="{CA7E8887-98E0-40D0-A7C3-35DC109BC450}" srcOrd="0" destOrd="0" presId="urn:microsoft.com/office/officeart/2005/8/layout/default"/>
    <dgm:cxn modelId="{CF76E844-3BEF-4600-8F46-65E3CA1C7D62}" type="presOf" srcId="{5C30927A-E862-4716-90C5-69C3D5A245D9}" destId="{FEF5860A-D64B-4B48-8CFD-9840B2CC64C4}" srcOrd="0" destOrd="0" presId="urn:microsoft.com/office/officeart/2005/8/layout/default"/>
    <dgm:cxn modelId="{3A66B146-FD84-42E4-AAC9-7400A788D346}" type="presOf" srcId="{AAA2C2FB-45EA-4FF8-AE03-DDD07F8C4DC3}" destId="{EBAAD436-1703-4DB0-A18D-AABEC0B74CB5}" srcOrd="0" destOrd="0" presId="urn:microsoft.com/office/officeart/2005/8/layout/default"/>
    <dgm:cxn modelId="{532D1A47-469F-40F9-9BE1-7E2820D92E1D}" srcId="{43014DF1-E5B3-4C29-94AB-703435537568}" destId="{AAA2C2FB-45EA-4FF8-AE03-DDD07F8C4DC3}" srcOrd="2" destOrd="0" parTransId="{7E094B89-DFC9-47E5-85D4-20678219EE58}" sibTransId="{15BA6785-B178-4DD3-85EC-8922EFFD9417}"/>
    <dgm:cxn modelId="{DD39DC69-78D7-4DA0-AFFB-A3DB1E61E5CD}" type="presOf" srcId="{1C9FA018-1980-4AAC-9E66-9D0C37CB4D12}" destId="{D48714FC-633C-4867-8FBB-0AE79FE3102A}" srcOrd="0" destOrd="0" presId="urn:microsoft.com/office/officeart/2005/8/layout/default"/>
    <dgm:cxn modelId="{D311737B-ABD8-4C9C-AD01-82CEDB572446}" srcId="{43014DF1-E5B3-4C29-94AB-703435537568}" destId="{92588F4C-CD67-4A07-A391-8128D0AAFFDC}" srcOrd="10" destOrd="0" parTransId="{8040387B-6CC8-492F-9E0B-DE0B19414B0E}" sibTransId="{A0113EC2-5443-4D3F-97DD-8473494204D8}"/>
    <dgm:cxn modelId="{C74E717E-C780-4956-B0C2-E4A3763AB52B}" type="presOf" srcId="{67141EC9-437D-4796-BCC7-FFFC9437C015}" destId="{62722C4B-0D7D-48BA-A8A6-0914F840D924}" srcOrd="0" destOrd="0" presId="urn:microsoft.com/office/officeart/2005/8/layout/default"/>
    <dgm:cxn modelId="{80F31A7F-E46A-42DA-B57D-A7968252CDA0}" srcId="{43014DF1-E5B3-4C29-94AB-703435537568}" destId="{8B641721-381B-4D3D-945F-F2739A045D5A}" srcOrd="6" destOrd="0" parTransId="{CCC890BB-A5A4-42D2-861A-14E2602A1E18}" sibTransId="{BE556790-04E6-4E99-ACEA-488E2014CBCC}"/>
    <dgm:cxn modelId="{B9D2558D-8B43-4B91-A3A6-23BC3D89C31F}" type="presOf" srcId="{43014DF1-E5B3-4C29-94AB-703435537568}" destId="{20CAD73B-8B2E-405E-A016-7DACE09C14D1}" srcOrd="0" destOrd="0" presId="urn:microsoft.com/office/officeart/2005/8/layout/default"/>
    <dgm:cxn modelId="{3EF37592-0A9D-47BD-B641-742DDA047109}" type="presOf" srcId="{313186C3-EDE3-43B0-8F1D-843CA2869F74}" destId="{DF744ED3-A798-4133-A0C6-904785962B0B}" srcOrd="0" destOrd="0" presId="urn:microsoft.com/office/officeart/2005/8/layout/default"/>
    <dgm:cxn modelId="{7A922EA7-DCF9-47E2-BA9C-B423EAEFDF60}" type="presOf" srcId="{8B641721-381B-4D3D-945F-F2739A045D5A}" destId="{9A6FC898-D3AF-4A1B-8EE7-3ED45C53E4B1}" srcOrd="0" destOrd="0" presId="urn:microsoft.com/office/officeart/2005/8/layout/default"/>
    <dgm:cxn modelId="{DCD7E8A9-BA2A-4AA1-9B8E-F5CB08B04F2A}" type="presOf" srcId="{DA70BD48-6BCC-4914-8F49-9AA6744CB529}" destId="{FB3693F6-40FB-4A06-8AA1-326263670335}" srcOrd="0" destOrd="0" presId="urn:microsoft.com/office/officeart/2005/8/layout/default"/>
    <dgm:cxn modelId="{AB662CB7-87D8-4623-AD57-FFE26A613BC0}" srcId="{43014DF1-E5B3-4C29-94AB-703435537568}" destId="{313186C3-EDE3-43B0-8F1D-843CA2869F74}" srcOrd="5" destOrd="0" parTransId="{5BBE2D5D-81BC-4431-8AF7-A5CBD211338B}" sibTransId="{CEACB1E3-2954-485A-B87C-9D28AEC4E9AF}"/>
    <dgm:cxn modelId="{D61331C8-CD40-4F43-B1E3-7996B6E30CA0}" srcId="{43014DF1-E5B3-4C29-94AB-703435537568}" destId="{1C9FA018-1980-4AAC-9E66-9D0C37CB4D12}" srcOrd="7" destOrd="0" parTransId="{A2FFF931-5C32-4298-966E-4F245693AC65}" sibTransId="{916B34D6-F444-434F-9D9D-2E8F9EF74A70}"/>
    <dgm:cxn modelId="{24D715D8-A21F-48A9-A02C-DD9CFC7594C6}" type="presOf" srcId="{61EDC02C-8604-4857-A763-288B1CA32969}" destId="{B4959DB2-6E83-46B6-B5A9-B097CFADC048}" srcOrd="0" destOrd="0" presId="urn:microsoft.com/office/officeart/2005/8/layout/default"/>
    <dgm:cxn modelId="{3FA778E3-6F7B-4CA5-BD03-8352B4078B25}" type="presOf" srcId="{93CB8C43-2EF0-4BBF-9F0A-8A7D5ACA086D}" destId="{BAF29656-BDA7-478B-9357-28CCCBBB88B6}" srcOrd="0" destOrd="0" presId="urn:microsoft.com/office/officeart/2005/8/layout/default"/>
    <dgm:cxn modelId="{A83286FC-3073-4971-9441-1CCAA77B311A}" srcId="{43014DF1-E5B3-4C29-94AB-703435537568}" destId="{129E4E32-2B5F-4C36-BD04-413BFD723840}" srcOrd="9" destOrd="0" parTransId="{20D2CEE3-F155-4572-8593-9C39EFACC165}" sibTransId="{9EDE066C-3A25-4463-953E-54E01C922BA7}"/>
    <dgm:cxn modelId="{23D21CFD-BAE3-4E4F-93F6-6B0A6866E52B}" srcId="{43014DF1-E5B3-4C29-94AB-703435537568}" destId="{93CB8C43-2EF0-4BBF-9F0A-8A7D5ACA086D}" srcOrd="3" destOrd="0" parTransId="{8DFDA5BE-F9C2-4706-A513-00087AF2D741}" sibTransId="{A434DC83-523E-4363-9272-DE6B989B8C99}"/>
    <dgm:cxn modelId="{0C1F0CD0-7056-435D-824F-6C0AAE12453A}" type="presParOf" srcId="{20CAD73B-8B2E-405E-A016-7DACE09C14D1}" destId="{FEF5860A-D64B-4B48-8CFD-9840B2CC64C4}" srcOrd="0" destOrd="0" presId="urn:microsoft.com/office/officeart/2005/8/layout/default"/>
    <dgm:cxn modelId="{F4DCFFA5-90C0-400D-82B5-750271327922}" type="presParOf" srcId="{20CAD73B-8B2E-405E-A016-7DACE09C14D1}" destId="{FFC1BFC2-94ED-410D-9DE2-88D088993DA7}" srcOrd="1" destOrd="0" presId="urn:microsoft.com/office/officeart/2005/8/layout/default"/>
    <dgm:cxn modelId="{D221C429-1433-439A-87E3-445D3C73FFE5}" type="presParOf" srcId="{20CAD73B-8B2E-405E-A016-7DACE09C14D1}" destId="{B4959DB2-6E83-46B6-B5A9-B097CFADC048}" srcOrd="2" destOrd="0" presId="urn:microsoft.com/office/officeart/2005/8/layout/default"/>
    <dgm:cxn modelId="{317B6069-1725-4D50-997C-D72BB1EE12EF}" type="presParOf" srcId="{20CAD73B-8B2E-405E-A016-7DACE09C14D1}" destId="{A9BC7906-BD3F-42DB-BD4A-215A203C721E}" srcOrd="3" destOrd="0" presId="urn:microsoft.com/office/officeart/2005/8/layout/default"/>
    <dgm:cxn modelId="{90BCECE8-FD2F-45B2-AF78-25DCB8B1C88D}" type="presParOf" srcId="{20CAD73B-8B2E-405E-A016-7DACE09C14D1}" destId="{EBAAD436-1703-4DB0-A18D-AABEC0B74CB5}" srcOrd="4" destOrd="0" presId="urn:microsoft.com/office/officeart/2005/8/layout/default"/>
    <dgm:cxn modelId="{286BCB55-747E-420A-AE74-F77B25635419}" type="presParOf" srcId="{20CAD73B-8B2E-405E-A016-7DACE09C14D1}" destId="{E9E9D00A-900B-497D-8636-94930B178FF5}" srcOrd="5" destOrd="0" presId="urn:microsoft.com/office/officeart/2005/8/layout/default"/>
    <dgm:cxn modelId="{37D18FFC-4D7C-4A4A-AD79-A06159D8DDB7}" type="presParOf" srcId="{20CAD73B-8B2E-405E-A016-7DACE09C14D1}" destId="{BAF29656-BDA7-478B-9357-28CCCBBB88B6}" srcOrd="6" destOrd="0" presId="urn:microsoft.com/office/officeart/2005/8/layout/default"/>
    <dgm:cxn modelId="{977EE352-B1EA-47C3-ABCA-CAD9B8BBB7C2}" type="presParOf" srcId="{20CAD73B-8B2E-405E-A016-7DACE09C14D1}" destId="{E4659D6D-0262-4DF1-851D-B932B24EF757}" srcOrd="7" destOrd="0" presId="urn:microsoft.com/office/officeart/2005/8/layout/default"/>
    <dgm:cxn modelId="{B296A6E3-ADE7-44B0-ABDB-BA88FC52FF5F}" type="presParOf" srcId="{20CAD73B-8B2E-405E-A016-7DACE09C14D1}" destId="{62722C4B-0D7D-48BA-A8A6-0914F840D924}" srcOrd="8" destOrd="0" presId="urn:microsoft.com/office/officeart/2005/8/layout/default"/>
    <dgm:cxn modelId="{60DB9237-B506-401F-8C7E-C85BBAD2CBD5}" type="presParOf" srcId="{20CAD73B-8B2E-405E-A016-7DACE09C14D1}" destId="{7193D0A1-331F-412E-8B42-78D47AC9F079}" srcOrd="9" destOrd="0" presId="urn:microsoft.com/office/officeart/2005/8/layout/default"/>
    <dgm:cxn modelId="{BE78500C-7B15-45B9-8C14-07221F1A18F3}" type="presParOf" srcId="{20CAD73B-8B2E-405E-A016-7DACE09C14D1}" destId="{DF744ED3-A798-4133-A0C6-904785962B0B}" srcOrd="10" destOrd="0" presId="urn:microsoft.com/office/officeart/2005/8/layout/default"/>
    <dgm:cxn modelId="{CD15F23F-0B93-4C58-9B46-506A1B9A8344}" type="presParOf" srcId="{20CAD73B-8B2E-405E-A016-7DACE09C14D1}" destId="{B669D321-8321-4241-B43A-71FDD4A3F2E2}" srcOrd="11" destOrd="0" presId="urn:microsoft.com/office/officeart/2005/8/layout/default"/>
    <dgm:cxn modelId="{2B6CD56A-5C67-4074-B99B-85AB1013CE6B}" type="presParOf" srcId="{20CAD73B-8B2E-405E-A016-7DACE09C14D1}" destId="{9A6FC898-D3AF-4A1B-8EE7-3ED45C53E4B1}" srcOrd="12" destOrd="0" presId="urn:microsoft.com/office/officeart/2005/8/layout/default"/>
    <dgm:cxn modelId="{69D07D6B-2C45-4788-97F8-6062784CC3E5}" type="presParOf" srcId="{20CAD73B-8B2E-405E-A016-7DACE09C14D1}" destId="{326CE54F-5B91-4EEF-B5E9-F1F69D706845}" srcOrd="13" destOrd="0" presId="urn:microsoft.com/office/officeart/2005/8/layout/default"/>
    <dgm:cxn modelId="{37A2285E-6F01-42FC-9209-7AB008595198}" type="presParOf" srcId="{20CAD73B-8B2E-405E-A016-7DACE09C14D1}" destId="{D48714FC-633C-4867-8FBB-0AE79FE3102A}" srcOrd="14" destOrd="0" presId="urn:microsoft.com/office/officeart/2005/8/layout/default"/>
    <dgm:cxn modelId="{6D26A378-DC91-44E2-B7AF-5534489EC1E3}" type="presParOf" srcId="{20CAD73B-8B2E-405E-A016-7DACE09C14D1}" destId="{9E33FD3B-E71E-4F00-9012-70B4ED28E27B}" srcOrd="15" destOrd="0" presId="urn:microsoft.com/office/officeart/2005/8/layout/default"/>
    <dgm:cxn modelId="{061B2017-61A7-4392-A20E-466E95C80286}" type="presParOf" srcId="{20CAD73B-8B2E-405E-A016-7DACE09C14D1}" destId="{FB3693F6-40FB-4A06-8AA1-326263670335}" srcOrd="16" destOrd="0" presId="urn:microsoft.com/office/officeart/2005/8/layout/default"/>
    <dgm:cxn modelId="{3944C12D-8D4D-4A33-808C-E1FC04DDDAFB}" type="presParOf" srcId="{20CAD73B-8B2E-405E-A016-7DACE09C14D1}" destId="{7258DC8A-DF8E-4306-9611-71DF277467A9}" srcOrd="17" destOrd="0" presId="urn:microsoft.com/office/officeart/2005/8/layout/default"/>
    <dgm:cxn modelId="{BE73AA5A-3A3F-4547-AB28-B91A0325953A}" type="presParOf" srcId="{20CAD73B-8B2E-405E-A016-7DACE09C14D1}" destId="{CA7E8887-98E0-40D0-A7C3-35DC109BC450}" srcOrd="18" destOrd="0" presId="urn:microsoft.com/office/officeart/2005/8/layout/default"/>
    <dgm:cxn modelId="{A81B435F-7550-4AF3-AB7E-D2DCC5DBF08B}" type="presParOf" srcId="{20CAD73B-8B2E-405E-A016-7DACE09C14D1}" destId="{25ACECA6-34DF-49D2-99BE-A801DB4C4692}" srcOrd="19" destOrd="0" presId="urn:microsoft.com/office/officeart/2005/8/layout/default"/>
    <dgm:cxn modelId="{4038188D-74A9-439C-87F1-431609A30204}" type="presParOf" srcId="{20CAD73B-8B2E-405E-A016-7DACE09C14D1}" destId="{C7151A2A-E9C8-450D-A0EF-E5D47BBA2C7D}" srcOrd="2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89B9E2-DFA6-4A4E-8616-8720620EC593}">
      <dsp:nvSpPr>
        <dsp:cNvPr id="0" name=""/>
        <dsp:cNvSpPr/>
      </dsp:nvSpPr>
      <dsp:spPr>
        <a:xfrm rot="16015555">
          <a:off x="4179531" y="686365"/>
          <a:ext cx="45709" cy="112254"/>
        </a:xfrm>
        <a:prstGeom prst="hexagon">
          <a:avLst>
            <a:gd name="adj" fmla="val 2500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>
            <a:solidFill>
              <a:srgbClr val="FFFFFF"/>
            </a:solidFill>
          </a:endParaRPr>
        </a:p>
      </dsp:txBody>
      <dsp:txXfrm rot="-5400000">
        <a:off x="4164968" y="727255"/>
        <a:ext cx="74836" cy="30473"/>
      </dsp:txXfrm>
    </dsp:sp>
    <dsp:sp modelId="{CDE55AC1-4B1B-41CE-9231-AEFBD5EE22A1}">
      <dsp:nvSpPr>
        <dsp:cNvPr id="0" name=""/>
        <dsp:cNvSpPr/>
      </dsp:nvSpPr>
      <dsp:spPr>
        <a:xfrm>
          <a:off x="7110799" y="444747"/>
          <a:ext cx="2470322" cy="1328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B8E277-6EAF-4BFF-B08A-85CB8608D4BB}">
      <dsp:nvSpPr>
        <dsp:cNvPr id="0" name=""/>
        <dsp:cNvSpPr/>
      </dsp:nvSpPr>
      <dsp:spPr>
        <a:xfrm rot="5400000">
          <a:off x="2902839" y="145918"/>
          <a:ext cx="2213550" cy="1925789"/>
        </a:xfrm>
        <a:prstGeom prst="hexagon">
          <a:avLst>
            <a:gd name="adj" fmla="val 25000"/>
            <a:gd name="vf" fmla="val 115470"/>
          </a:avLst>
        </a:prstGeom>
        <a:solidFill>
          <a:srgbClr val="12AADA"/>
        </a:solidFill>
        <a:ln w="12700" cap="flat" cmpd="sng" algn="ctr">
          <a:solidFill>
            <a:srgbClr val="12AAD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Blogger</a:t>
          </a:r>
        </a:p>
      </dsp:txBody>
      <dsp:txXfrm rot="-5400000">
        <a:off x="3346821" y="346983"/>
        <a:ext cx="1325585" cy="1523660"/>
      </dsp:txXfrm>
    </dsp:sp>
    <dsp:sp modelId="{A13E5C9C-6301-404A-9CC7-9A969982D82B}">
      <dsp:nvSpPr>
        <dsp:cNvPr id="0" name=""/>
        <dsp:cNvSpPr/>
      </dsp:nvSpPr>
      <dsp:spPr>
        <a:xfrm rot="5400000">
          <a:off x="3938781" y="2024780"/>
          <a:ext cx="2213550" cy="1925789"/>
        </a:xfrm>
        <a:prstGeom prst="hexagon">
          <a:avLst>
            <a:gd name="adj" fmla="val 25000"/>
            <a:gd name="vf" fmla="val 115470"/>
          </a:avLst>
        </a:prstGeom>
        <a:solidFill>
          <a:srgbClr val="12AADA"/>
        </a:solidFill>
        <a:ln w="12700" cap="flat" cmpd="sng" algn="ctr">
          <a:solidFill>
            <a:srgbClr val="12AAD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rchitect</a:t>
          </a:r>
        </a:p>
      </dsp:txBody>
      <dsp:txXfrm rot="-5400000">
        <a:off x="4382763" y="2225845"/>
        <a:ext cx="1325585" cy="1523660"/>
      </dsp:txXfrm>
    </dsp:sp>
    <dsp:sp modelId="{9775598B-0CB0-4B1C-A723-12D6BE7C8119}">
      <dsp:nvSpPr>
        <dsp:cNvPr id="0" name=""/>
        <dsp:cNvSpPr/>
      </dsp:nvSpPr>
      <dsp:spPr>
        <a:xfrm>
          <a:off x="1612339" y="2323609"/>
          <a:ext cx="2390634" cy="1328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8B1087-490D-46DC-946C-2EE25FD275AC}">
      <dsp:nvSpPr>
        <dsp:cNvPr id="0" name=""/>
        <dsp:cNvSpPr/>
      </dsp:nvSpPr>
      <dsp:spPr>
        <a:xfrm rot="5400000">
          <a:off x="6018633" y="2024780"/>
          <a:ext cx="2213550" cy="1925789"/>
        </a:xfrm>
        <a:prstGeom prst="hexagon">
          <a:avLst>
            <a:gd name="adj" fmla="val 25000"/>
            <a:gd name="vf" fmla="val 115470"/>
          </a:avLst>
        </a:prstGeom>
        <a:solidFill>
          <a:srgbClr val="12AADA"/>
        </a:solidFill>
        <a:ln w="12700" cap="flat" cmpd="sng" algn="ctr">
          <a:solidFill>
            <a:srgbClr val="12AAD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LM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Ranger</a:t>
          </a:r>
        </a:p>
      </dsp:txBody>
      <dsp:txXfrm rot="-5400000">
        <a:off x="6462615" y="2225845"/>
        <a:ext cx="1325585" cy="1523660"/>
      </dsp:txXfrm>
    </dsp:sp>
    <dsp:sp modelId="{4018814A-90A1-426F-82F8-AEE6739B1356}">
      <dsp:nvSpPr>
        <dsp:cNvPr id="0" name=""/>
        <dsp:cNvSpPr/>
      </dsp:nvSpPr>
      <dsp:spPr>
        <a:xfrm rot="5400000">
          <a:off x="4982691" y="3903642"/>
          <a:ext cx="2213550" cy="1925789"/>
        </a:xfrm>
        <a:prstGeom prst="hexagon">
          <a:avLst>
            <a:gd name="adj" fmla="val 25000"/>
            <a:gd name="vf" fmla="val 11547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rgbClr val="12AAD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 dirty="0">
            <a:solidFill>
              <a:srgbClr val="FFFFFF"/>
            </a:solidFill>
          </a:endParaRPr>
        </a:p>
      </dsp:txBody>
      <dsp:txXfrm rot="-5400000">
        <a:off x="5426673" y="4104707"/>
        <a:ext cx="1325585" cy="1523660"/>
      </dsp:txXfrm>
    </dsp:sp>
    <dsp:sp modelId="{D2AF450F-BF90-46E2-B0EA-3344F22335A8}">
      <dsp:nvSpPr>
        <dsp:cNvPr id="0" name=""/>
        <dsp:cNvSpPr/>
      </dsp:nvSpPr>
      <dsp:spPr>
        <a:xfrm>
          <a:off x="7110799" y="4202471"/>
          <a:ext cx="2470322" cy="1328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A2AD3E-81DC-4761-9BA4-69B6F243CB05}">
      <dsp:nvSpPr>
        <dsp:cNvPr id="0" name=""/>
        <dsp:cNvSpPr/>
      </dsp:nvSpPr>
      <dsp:spPr>
        <a:xfrm rot="5400000">
          <a:off x="2902839" y="3903642"/>
          <a:ext cx="2213550" cy="1925789"/>
        </a:xfrm>
        <a:prstGeom prst="hexagon">
          <a:avLst>
            <a:gd name="adj" fmla="val 25000"/>
            <a:gd name="vf" fmla="val 115470"/>
          </a:avLst>
        </a:prstGeom>
        <a:solidFill>
          <a:srgbClr val="12ABDB"/>
        </a:solidFill>
        <a:ln w="12700" cap="flat" cmpd="sng" algn="ctr">
          <a:solidFill>
            <a:srgbClr val="12ABDB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#Technology Leaders</a:t>
          </a:r>
        </a:p>
      </dsp:txBody>
      <dsp:txXfrm rot="-5400000">
        <a:off x="3346821" y="4104707"/>
        <a:ext cx="1325585" cy="15236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DD557-212A-4F88-A2D2-8F46D18FA406}">
      <dsp:nvSpPr>
        <dsp:cNvPr id="0" name=""/>
        <dsp:cNvSpPr/>
      </dsp:nvSpPr>
      <dsp:spPr>
        <a:xfrm>
          <a:off x="7873" y="0"/>
          <a:ext cx="4794038" cy="85853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Server</a:t>
          </a:r>
        </a:p>
      </dsp:txBody>
      <dsp:txXfrm>
        <a:off x="33019" y="25146"/>
        <a:ext cx="4743746" cy="808242"/>
      </dsp:txXfrm>
    </dsp:sp>
    <dsp:sp modelId="{41BDED45-F440-480C-93D3-44A2E4BEB1C1}">
      <dsp:nvSpPr>
        <dsp:cNvPr id="0" name=""/>
        <dsp:cNvSpPr/>
      </dsp:nvSpPr>
      <dsp:spPr>
        <a:xfrm>
          <a:off x="5281316" y="0"/>
          <a:ext cx="1016336" cy="8585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5281316" y="171707"/>
        <a:ext cx="758776" cy="515120"/>
      </dsp:txXfrm>
    </dsp:sp>
    <dsp:sp modelId="{4670A24E-F5CB-4130-A0E1-E9F2A83EAA9A}">
      <dsp:nvSpPr>
        <dsp:cNvPr id="0" name=""/>
        <dsp:cNvSpPr/>
      </dsp:nvSpPr>
      <dsp:spPr>
        <a:xfrm>
          <a:off x="6719527" y="-90143"/>
          <a:ext cx="4794038" cy="1038821"/>
        </a:xfrm>
        <a:prstGeom prst="roundRect">
          <a:avLst>
            <a:gd name="adj" fmla="val 10000"/>
          </a:avLst>
        </a:prstGeom>
        <a:solidFill>
          <a:srgbClr val="0A71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Services</a:t>
          </a:r>
        </a:p>
      </dsp:txBody>
      <dsp:txXfrm>
        <a:off x="6749953" y="-59717"/>
        <a:ext cx="4733186" cy="9779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DD557-212A-4F88-A2D2-8F46D18FA406}">
      <dsp:nvSpPr>
        <dsp:cNvPr id="0" name=""/>
        <dsp:cNvSpPr/>
      </dsp:nvSpPr>
      <dsp:spPr>
        <a:xfrm>
          <a:off x="2250" y="0"/>
          <a:ext cx="4798724" cy="85853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Domain</a:t>
          </a:r>
        </a:p>
      </dsp:txBody>
      <dsp:txXfrm>
        <a:off x="27396" y="25146"/>
        <a:ext cx="4748432" cy="808242"/>
      </dsp:txXfrm>
    </dsp:sp>
    <dsp:sp modelId="{41BDED45-F440-480C-93D3-44A2E4BEB1C1}">
      <dsp:nvSpPr>
        <dsp:cNvPr id="0" name=""/>
        <dsp:cNvSpPr/>
      </dsp:nvSpPr>
      <dsp:spPr>
        <a:xfrm>
          <a:off x="5280847" y="0"/>
          <a:ext cx="1017329" cy="8585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5280847" y="171707"/>
        <a:ext cx="759769" cy="515120"/>
      </dsp:txXfrm>
    </dsp:sp>
    <dsp:sp modelId="{4670A24E-F5CB-4130-A0E1-E9F2A83EAA9A}">
      <dsp:nvSpPr>
        <dsp:cNvPr id="0" name=""/>
        <dsp:cNvSpPr/>
      </dsp:nvSpPr>
      <dsp:spPr>
        <a:xfrm>
          <a:off x="6720464" y="0"/>
          <a:ext cx="4798724" cy="858534"/>
        </a:xfrm>
        <a:prstGeom prst="roundRect">
          <a:avLst>
            <a:gd name="adj" fmla="val 10000"/>
          </a:avLst>
        </a:prstGeom>
        <a:solidFill>
          <a:srgbClr val="0A71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Subscription</a:t>
          </a:r>
        </a:p>
      </dsp:txBody>
      <dsp:txXfrm>
        <a:off x="6745610" y="25146"/>
        <a:ext cx="4748432" cy="80824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DD557-212A-4F88-A2D2-8F46D18FA406}">
      <dsp:nvSpPr>
        <dsp:cNvPr id="0" name=""/>
        <dsp:cNvSpPr/>
      </dsp:nvSpPr>
      <dsp:spPr>
        <a:xfrm>
          <a:off x="2250" y="0"/>
          <a:ext cx="4798724" cy="85853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Domain Admin</a:t>
          </a:r>
        </a:p>
      </dsp:txBody>
      <dsp:txXfrm>
        <a:off x="27396" y="25146"/>
        <a:ext cx="4748432" cy="808242"/>
      </dsp:txXfrm>
    </dsp:sp>
    <dsp:sp modelId="{D00C97FD-329B-4CB0-82B3-6E7E6F080DA2}">
      <dsp:nvSpPr>
        <dsp:cNvPr id="0" name=""/>
        <dsp:cNvSpPr/>
      </dsp:nvSpPr>
      <dsp:spPr>
        <a:xfrm>
          <a:off x="5280847" y="0"/>
          <a:ext cx="1017329" cy="8585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900" kern="1200"/>
        </a:p>
      </dsp:txBody>
      <dsp:txXfrm>
        <a:off x="5280847" y="171707"/>
        <a:ext cx="759769" cy="515120"/>
      </dsp:txXfrm>
    </dsp:sp>
    <dsp:sp modelId="{31F3C280-B930-4F86-BEEF-6FB5CC520CE3}">
      <dsp:nvSpPr>
        <dsp:cNvPr id="0" name=""/>
        <dsp:cNvSpPr/>
      </dsp:nvSpPr>
      <dsp:spPr>
        <a:xfrm>
          <a:off x="6720464" y="0"/>
          <a:ext cx="4798724" cy="858534"/>
        </a:xfrm>
        <a:prstGeom prst="roundRect">
          <a:avLst>
            <a:gd name="adj" fmla="val 10000"/>
          </a:avLst>
        </a:prstGeom>
        <a:solidFill>
          <a:srgbClr val="0A71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600" kern="1200" dirty="0"/>
            <a:t>Subscription Admin</a:t>
          </a:r>
          <a:endParaRPr lang="en-US" sz="3600" kern="1200" dirty="0"/>
        </a:p>
      </dsp:txBody>
      <dsp:txXfrm>
        <a:off x="6745610" y="25146"/>
        <a:ext cx="4748432" cy="80824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DD557-212A-4F88-A2D2-8F46D18FA406}">
      <dsp:nvSpPr>
        <dsp:cNvPr id="0" name=""/>
        <dsp:cNvSpPr/>
      </dsp:nvSpPr>
      <dsp:spPr>
        <a:xfrm>
          <a:off x="2250" y="0"/>
          <a:ext cx="4798724" cy="85853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 dirty="0"/>
            <a:t>Private IPs</a:t>
          </a:r>
        </a:p>
      </dsp:txBody>
      <dsp:txXfrm>
        <a:off x="27396" y="25146"/>
        <a:ext cx="4748432" cy="808242"/>
      </dsp:txXfrm>
    </dsp:sp>
    <dsp:sp modelId="{7C1B4BCD-1859-4492-BCDE-D12DDF564239}">
      <dsp:nvSpPr>
        <dsp:cNvPr id="0" name=""/>
        <dsp:cNvSpPr/>
      </dsp:nvSpPr>
      <dsp:spPr>
        <a:xfrm>
          <a:off x="5280847" y="0"/>
          <a:ext cx="1017329" cy="8585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5280847" y="171707"/>
        <a:ext cx="759769" cy="515120"/>
      </dsp:txXfrm>
    </dsp:sp>
    <dsp:sp modelId="{54606BFF-0115-4087-8AB5-18813B677AB4}">
      <dsp:nvSpPr>
        <dsp:cNvPr id="0" name=""/>
        <dsp:cNvSpPr/>
      </dsp:nvSpPr>
      <dsp:spPr>
        <a:xfrm>
          <a:off x="6720464" y="0"/>
          <a:ext cx="4798724" cy="858534"/>
        </a:xfrm>
        <a:prstGeom prst="roundRect">
          <a:avLst>
            <a:gd name="adj" fmla="val 10000"/>
          </a:avLst>
        </a:prstGeom>
        <a:solidFill>
          <a:srgbClr val="0A71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700" kern="1200" dirty="0"/>
            <a:t>Public IPs</a:t>
          </a:r>
          <a:endParaRPr lang="en-US" sz="3700" kern="1200" dirty="0"/>
        </a:p>
      </dsp:txBody>
      <dsp:txXfrm>
        <a:off x="6745610" y="25146"/>
        <a:ext cx="4748432" cy="80824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DD557-212A-4F88-A2D2-8F46D18FA406}">
      <dsp:nvSpPr>
        <dsp:cNvPr id="0" name=""/>
        <dsp:cNvSpPr/>
      </dsp:nvSpPr>
      <dsp:spPr>
        <a:xfrm>
          <a:off x="2250" y="0"/>
          <a:ext cx="4798724" cy="944387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RDP / SSH</a:t>
          </a:r>
        </a:p>
      </dsp:txBody>
      <dsp:txXfrm>
        <a:off x="29910" y="27660"/>
        <a:ext cx="4743404" cy="889067"/>
      </dsp:txXfrm>
    </dsp:sp>
    <dsp:sp modelId="{2742E869-6693-476C-8D38-6F45C967043A}">
      <dsp:nvSpPr>
        <dsp:cNvPr id="0" name=""/>
        <dsp:cNvSpPr/>
      </dsp:nvSpPr>
      <dsp:spPr>
        <a:xfrm>
          <a:off x="5281410" y="0"/>
          <a:ext cx="1018522" cy="944387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0" kern="1200"/>
        </a:p>
      </dsp:txBody>
      <dsp:txXfrm>
        <a:off x="5281410" y="188877"/>
        <a:ext cx="735206" cy="566633"/>
      </dsp:txXfrm>
    </dsp:sp>
    <dsp:sp modelId="{452DE210-A237-47B9-95C4-AEBFAB74C6EA}">
      <dsp:nvSpPr>
        <dsp:cNvPr id="0" name=""/>
        <dsp:cNvSpPr/>
      </dsp:nvSpPr>
      <dsp:spPr>
        <a:xfrm>
          <a:off x="6722715" y="0"/>
          <a:ext cx="4798724" cy="944387"/>
        </a:xfrm>
        <a:prstGeom prst="roundRect">
          <a:avLst>
            <a:gd name="adj" fmla="val 10000"/>
          </a:avLst>
        </a:prstGeom>
        <a:solidFill>
          <a:srgbClr val="0A71B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3800" kern="1200" dirty="0"/>
            <a:t>Management APIs</a:t>
          </a:r>
          <a:endParaRPr lang="en-US" sz="3800" kern="1200" dirty="0"/>
        </a:p>
      </dsp:txBody>
      <dsp:txXfrm>
        <a:off x="6750375" y="27660"/>
        <a:ext cx="4743404" cy="88906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8233D4-D68B-4643-A331-7F96CAB46F85}">
      <dsp:nvSpPr>
        <dsp:cNvPr id="0" name=""/>
        <dsp:cNvSpPr/>
      </dsp:nvSpPr>
      <dsp:spPr>
        <a:xfrm>
          <a:off x="0" y="15712"/>
          <a:ext cx="11655839" cy="5996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500" b="0" i="0" kern="1200" dirty="0">
              <a:latin typeface="Verdana (Headings)"/>
            </a:rPr>
            <a:t>Use cases</a:t>
          </a:r>
        </a:p>
      </dsp:txBody>
      <dsp:txXfrm>
        <a:off x="29271" y="44983"/>
        <a:ext cx="11597297" cy="541083"/>
      </dsp:txXfrm>
    </dsp:sp>
    <dsp:sp modelId="{867FA629-B26F-4F1C-A025-EB98CFD3093E}">
      <dsp:nvSpPr>
        <dsp:cNvPr id="0" name=""/>
        <dsp:cNvSpPr/>
      </dsp:nvSpPr>
      <dsp:spPr>
        <a:xfrm>
          <a:off x="0" y="615338"/>
          <a:ext cx="11655839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007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AU" sz="2000" b="0" i="0" kern="1200" dirty="0">
              <a:latin typeface="Verdana (Headings)"/>
            </a:rPr>
            <a:t>Of the system being </a:t>
          </a:r>
          <a:r>
            <a:rPr lang="en-AU" sz="2000" b="0" i="0" kern="1200" dirty="0" err="1">
              <a:latin typeface="Verdana (Headings)"/>
            </a:rPr>
            <a:t>modeled</a:t>
          </a:r>
          <a:endParaRPr lang="en-US" sz="2000" b="0" i="0" kern="1200" dirty="0">
            <a:latin typeface="Verdana (Headings)"/>
          </a:endParaRPr>
        </a:p>
      </dsp:txBody>
      <dsp:txXfrm>
        <a:off x="0" y="615338"/>
        <a:ext cx="11655839" cy="414000"/>
      </dsp:txXfrm>
    </dsp:sp>
    <dsp:sp modelId="{EEC99A4A-9416-41A8-AEF2-89BCD2FD4820}">
      <dsp:nvSpPr>
        <dsp:cNvPr id="0" name=""/>
        <dsp:cNvSpPr/>
      </dsp:nvSpPr>
      <dsp:spPr>
        <a:xfrm>
          <a:off x="0" y="1029338"/>
          <a:ext cx="11655839" cy="5996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500" b="0" i="0" kern="1200" dirty="0">
              <a:latin typeface="Verdana (Headings)"/>
            </a:rPr>
            <a:t>Data Flow Diagrams</a:t>
          </a:r>
        </a:p>
      </dsp:txBody>
      <dsp:txXfrm>
        <a:off x="29271" y="1058609"/>
        <a:ext cx="11597297" cy="541083"/>
      </dsp:txXfrm>
    </dsp:sp>
    <dsp:sp modelId="{A1201E24-EBB0-48B7-983D-3DCCF68FB536}">
      <dsp:nvSpPr>
        <dsp:cNvPr id="0" name=""/>
        <dsp:cNvSpPr/>
      </dsp:nvSpPr>
      <dsp:spPr>
        <a:xfrm>
          <a:off x="0" y="1628963"/>
          <a:ext cx="11655839" cy="1035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007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2000" b="0" i="0" kern="1200" dirty="0">
              <a:latin typeface="Verdana (Headings)"/>
            </a:rPr>
            <a:t>Components and the data flowing between them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2000" b="0" i="0" kern="1200" dirty="0">
              <a:latin typeface="Verdana (Headings)"/>
            </a:rPr>
            <a:t>Entry point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2000" b="0" i="0" kern="1200" dirty="0">
              <a:latin typeface="Verdana (Headings)"/>
            </a:rPr>
            <a:t>Trust boundaries</a:t>
          </a:r>
        </a:p>
      </dsp:txBody>
      <dsp:txXfrm>
        <a:off x="0" y="1628963"/>
        <a:ext cx="11655839" cy="1035000"/>
      </dsp:txXfrm>
    </dsp:sp>
    <dsp:sp modelId="{7E60F853-05A5-4789-A71E-F33046D8547F}">
      <dsp:nvSpPr>
        <dsp:cNvPr id="0" name=""/>
        <dsp:cNvSpPr/>
      </dsp:nvSpPr>
      <dsp:spPr>
        <a:xfrm>
          <a:off x="0" y="2663963"/>
          <a:ext cx="11655839" cy="5996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500" b="0" i="0" kern="1200" dirty="0">
              <a:latin typeface="Verdana (Headings)"/>
            </a:rPr>
            <a:t>Assets to be protected</a:t>
          </a:r>
        </a:p>
      </dsp:txBody>
      <dsp:txXfrm>
        <a:off x="29271" y="2693234"/>
        <a:ext cx="11597297" cy="541083"/>
      </dsp:txXfrm>
    </dsp:sp>
    <dsp:sp modelId="{104F193B-F630-472B-8619-39B818EB76D7}">
      <dsp:nvSpPr>
        <dsp:cNvPr id="0" name=""/>
        <dsp:cNvSpPr/>
      </dsp:nvSpPr>
      <dsp:spPr>
        <a:xfrm>
          <a:off x="0" y="3263588"/>
          <a:ext cx="11655839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007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2000" b="0" i="0" kern="1200" dirty="0">
              <a:latin typeface="Verdana (Headings)"/>
            </a:rPr>
            <a:t>Databases, Servers, Keys</a:t>
          </a:r>
        </a:p>
      </dsp:txBody>
      <dsp:txXfrm>
        <a:off x="0" y="3263588"/>
        <a:ext cx="11655839" cy="414000"/>
      </dsp:txXfrm>
    </dsp:sp>
    <dsp:sp modelId="{1676C198-5FEC-436D-9B6F-E167FA983F67}">
      <dsp:nvSpPr>
        <dsp:cNvPr id="0" name=""/>
        <dsp:cNvSpPr/>
      </dsp:nvSpPr>
      <dsp:spPr>
        <a:xfrm>
          <a:off x="0" y="3677588"/>
          <a:ext cx="11655839" cy="5996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500" b="0" i="0" kern="1200" dirty="0">
              <a:latin typeface="Verdana (Headings)"/>
            </a:rPr>
            <a:t>Threats, mitigations and accepted risks</a:t>
          </a:r>
        </a:p>
      </dsp:txBody>
      <dsp:txXfrm>
        <a:off x="29271" y="3706859"/>
        <a:ext cx="11597297" cy="541083"/>
      </dsp:txXfrm>
    </dsp:sp>
    <dsp:sp modelId="{F957F0AF-0621-485B-A92F-EA260D11E7A0}">
      <dsp:nvSpPr>
        <dsp:cNvPr id="0" name=""/>
        <dsp:cNvSpPr/>
      </dsp:nvSpPr>
      <dsp:spPr>
        <a:xfrm>
          <a:off x="0" y="4349213"/>
          <a:ext cx="11655839" cy="5996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500" b="0" i="0" kern="1200" dirty="0">
              <a:latin typeface="Verdana (Headings)"/>
            </a:rPr>
            <a:t>Security assumptions</a:t>
          </a:r>
        </a:p>
      </dsp:txBody>
      <dsp:txXfrm>
        <a:off x="29271" y="4378484"/>
        <a:ext cx="11597297" cy="541083"/>
      </dsp:txXfrm>
    </dsp:sp>
    <dsp:sp modelId="{DCAE795D-5186-409F-A7EA-F379AE19611C}">
      <dsp:nvSpPr>
        <dsp:cNvPr id="0" name=""/>
        <dsp:cNvSpPr/>
      </dsp:nvSpPr>
      <dsp:spPr>
        <a:xfrm>
          <a:off x="0" y="4948838"/>
          <a:ext cx="11655839" cy="41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0073" tIns="31750" rIns="177800" bIns="3175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2000" b="0" i="0" kern="1200" dirty="0">
              <a:latin typeface="Verdana (Headings)"/>
            </a:rPr>
            <a:t>Often about systems you depend on</a:t>
          </a:r>
        </a:p>
      </dsp:txBody>
      <dsp:txXfrm>
        <a:off x="0" y="4948838"/>
        <a:ext cx="11655839" cy="4140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238E07-1314-4DDC-A368-5BCD25F6FA60}">
      <dsp:nvSpPr>
        <dsp:cNvPr id="0" name=""/>
        <dsp:cNvSpPr/>
      </dsp:nvSpPr>
      <dsp:spPr>
        <a:xfrm>
          <a:off x="3750463" y="3950201"/>
          <a:ext cx="470994" cy="897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5497" y="0"/>
              </a:lnTo>
              <a:lnTo>
                <a:pt x="235497" y="897473"/>
              </a:lnTo>
              <a:lnTo>
                <a:pt x="470994" y="89747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3960621" y="4373599"/>
        <a:ext cx="50677" cy="50677"/>
      </dsp:txXfrm>
    </dsp:sp>
    <dsp:sp modelId="{08A22D9D-01C5-4BB2-BFCE-AC1FBF38C856}">
      <dsp:nvSpPr>
        <dsp:cNvPr id="0" name=""/>
        <dsp:cNvSpPr/>
      </dsp:nvSpPr>
      <dsp:spPr>
        <a:xfrm>
          <a:off x="3750463" y="3904481"/>
          <a:ext cx="47099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70994" y="4572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3974185" y="3938426"/>
        <a:ext cx="23549" cy="23549"/>
      </dsp:txXfrm>
    </dsp:sp>
    <dsp:sp modelId="{C1512A6D-85B3-4FE8-A329-B51884473DA2}">
      <dsp:nvSpPr>
        <dsp:cNvPr id="0" name=""/>
        <dsp:cNvSpPr/>
      </dsp:nvSpPr>
      <dsp:spPr>
        <a:xfrm>
          <a:off x="3750463" y="3052727"/>
          <a:ext cx="470994" cy="897473"/>
        </a:xfrm>
        <a:custGeom>
          <a:avLst/>
          <a:gdLst/>
          <a:ahLst/>
          <a:cxnLst/>
          <a:rect l="0" t="0" r="0" b="0"/>
          <a:pathLst>
            <a:path>
              <a:moveTo>
                <a:pt x="0" y="897473"/>
              </a:moveTo>
              <a:lnTo>
                <a:pt x="235497" y="897473"/>
              </a:lnTo>
              <a:lnTo>
                <a:pt x="235497" y="0"/>
              </a:lnTo>
              <a:lnTo>
                <a:pt x="470994" y="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3960621" y="3476125"/>
        <a:ext cx="50677" cy="50677"/>
      </dsp:txXfrm>
    </dsp:sp>
    <dsp:sp modelId="{DDB6D306-6792-4FA4-AB39-5909D1192D8E}">
      <dsp:nvSpPr>
        <dsp:cNvPr id="0" name=""/>
        <dsp:cNvSpPr/>
      </dsp:nvSpPr>
      <dsp:spPr>
        <a:xfrm>
          <a:off x="924497" y="2603990"/>
          <a:ext cx="470994" cy="13462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5497" y="0"/>
              </a:lnTo>
              <a:lnTo>
                <a:pt x="235497" y="1346210"/>
              </a:lnTo>
              <a:lnTo>
                <a:pt x="470994" y="134621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1124339" y="3241440"/>
        <a:ext cx="71311" cy="71311"/>
      </dsp:txXfrm>
    </dsp:sp>
    <dsp:sp modelId="{BD517DDF-6059-4E6A-9E0F-CFE867F6D423}">
      <dsp:nvSpPr>
        <dsp:cNvPr id="0" name=""/>
        <dsp:cNvSpPr/>
      </dsp:nvSpPr>
      <dsp:spPr>
        <a:xfrm>
          <a:off x="3750463" y="1257779"/>
          <a:ext cx="470994" cy="8974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5497" y="0"/>
              </a:lnTo>
              <a:lnTo>
                <a:pt x="235497" y="897473"/>
              </a:lnTo>
              <a:lnTo>
                <a:pt x="470994" y="897473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3960621" y="1681177"/>
        <a:ext cx="50677" cy="50677"/>
      </dsp:txXfrm>
    </dsp:sp>
    <dsp:sp modelId="{0986442E-E3F6-4B6A-8F35-82B64980628B}">
      <dsp:nvSpPr>
        <dsp:cNvPr id="0" name=""/>
        <dsp:cNvSpPr/>
      </dsp:nvSpPr>
      <dsp:spPr>
        <a:xfrm>
          <a:off x="3750463" y="1212059"/>
          <a:ext cx="47099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70994" y="4572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3974185" y="1246004"/>
        <a:ext cx="23549" cy="23549"/>
      </dsp:txXfrm>
    </dsp:sp>
    <dsp:sp modelId="{BFF1024D-9BF3-422C-BDFC-2AD8E4235B58}">
      <dsp:nvSpPr>
        <dsp:cNvPr id="0" name=""/>
        <dsp:cNvSpPr/>
      </dsp:nvSpPr>
      <dsp:spPr>
        <a:xfrm>
          <a:off x="3750463" y="360305"/>
          <a:ext cx="470994" cy="897473"/>
        </a:xfrm>
        <a:custGeom>
          <a:avLst/>
          <a:gdLst/>
          <a:ahLst/>
          <a:cxnLst/>
          <a:rect l="0" t="0" r="0" b="0"/>
          <a:pathLst>
            <a:path>
              <a:moveTo>
                <a:pt x="0" y="897473"/>
              </a:moveTo>
              <a:lnTo>
                <a:pt x="235497" y="897473"/>
              </a:lnTo>
              <a:lnTo>
                <a:pt x="235497" y="0"/>
              </a:lnTo>
              <a:lnTo>
                <a:pt x="470994" y="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3960621" y="783703"/>
        <a:ext cx="50677" cy="50677"/>
      </dsp:txXfrm>
    </dsp:sp>
    <dsp:sp modelId="{EA1D381E-68FA-42AB-9A78-584AD5A89C43}">
      <dsp:nvSpPr>
        <dsp:cNvPr id="0" name=""/>
        <dsp:cNvSpPr/>
      </dsp:nvSpPr>
      <dsp:spPr>
        <a:xfrm>
          <a:off x="924497" y="1257779"/>
          <a:ext cx="470994" cy="1346210"/>
        </a:xfrm>
        <a:custGeom>
          <a:avLst/>
          <a:gdLst/>
          <a:ahLst/>
          <a:cxnLst/>
          <a:rect l="0" t="0" r="0" b="0"/>
          <a:pathLst>
            <a:path>
              <a:moveTo>
                <a:pt x="0" y="1346210"/>
              </a:moveTo>
              <a:lnTo>
                <a:pt x="235497" y="1346210"/>
              </a:lnTo>
              <a:lnTo>
                <a:pt x="235497" y="0"/>
              </a:lnTo>
              <a:lnTo>
                <a:pt x="470994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333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00" kern="1200"/>
        </a:p>
      </dsp:txBody>
      <dsp:txXfrm>
        <a:off x="1124339" y="1895229"/>
        <a:ext cx="71311" cy="71311"/>
      </dsp:txXfrm>
    </dsp:sp>
    <dsp:sp modelId="{96507493-7136-44B9-B4A4-B347FE9A2E14}">
      <dsp:nvSpPr>
        <dsp:cNvPr id="0" name=""/>
        <dsp:cNvSpPr/>
      </dsp:nvSpPr>
      <dsp:spPr>
        <a:xfrm rot="16200000">
          <a:off x="-1323910" y="2245000"/>
          <a:ext cx="3778837" cy="71797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800" kern="1200" dirty="0">
              <a:latin typeface="Verdana (Headings)"/>
            </a:rPr>
            <a:t>Service Instance</a:t>
          </a:r>
          <a:endParaRPr lang="en-US" sz="2800" kern="1200" dirty="0">
            <a:latin typeface="Verdana (Headings)"/>
          </a:endParaRPr>
        </a:p>
      </dsp:txBody>
      <dsp:txXfrm>
        <a:off x="-1323910" y="2245000"/>
        <a:ext cx="3778837" cy="717979"/>
      </dsp:txXfrm>
    </dsp:sp>
    <dsp:sp modelId="{6D3D35C1-4D62-4773-B087-8AF39A121389}">
      <dsp:nvSpPr>
        <dsp:cNvPr id="0" name=""/>
        <dsp:cNvSpPr/>
      </dsp:nvSpPr>
      <dsp:spPr>
        <a:xfrm>
          <a:off x="1395491" y="898789"/>
          <a:ext cx="2354971" cy="71797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Run-time vaults</a:t>
          </a:r>
          <a:endParaRPr lang="en-US" sz="1800" kern="1200" dirty="0">
            <a:latin typeface="Verdana (Headings)"/>
          </a:endParaRPr>
        </a:p>
      </dsp:txBody>
      <dsp:txXfrm>
        <a:off x="1395491" y="898789"/>
        <a:ext cx="2354971" cy="717979"/>
      </dsp:txXfrm>
    </dsp:sp>
    <dsp:sp modelId="{DEA8EF44-43C6-4893-913D-C1F8B26203FB}">
      <dsp:nvSpPr>
        <dsp:cNvPr id="0" name=""/>
        <dsp:cNvSpPr/>
      </dsp:nvSpPr>
      <dsp:spPr>
        <a:xfrm>
          <a:off x="4221457" y="1315"/>
          <a:ext cx="2354971" cy="7179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Deployment-specific vault</a:t>
          </a:r>
          <a:endParaRPr lang="en-US" sz="1800" kern="1200" dirty="0">
            <a:latin typeface="Verdana (Headings)"/>
          </a:endParaRPr>
        </a:p>
      </dsp:txBody>
      <dsp:txXfrm>
        <a:off x="4221457" y="1315"/>
        <a:ext cx="2354971" cy="717979"/>
      </dsp:txXfrm>
    </dsp:sp>
    <dsp:sp modelId="{1EDC8CB0-6C45-4376-B26D-F866E91F1A0F}">
      <dsp:nvSpPr>
        <dsp:cNvPr id="0" name=""/>
        <dsp:cNvSpPr/>
      </dsp:nvSpPr>
      <dsp:spPr>
        <a:xfrm>
          <a:off x="4221457" y="898789"/>
          <a:ext cx="2354971" cy="7179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Service-wide vault</a:t>
          </a:r>
          <a:endParaRPr lang="en-US" sz="1800" kern="1200" dirty="0">
            <a:latin typeface="Verdana (Headings)"/>
          </a:endParaRPr>
        </a:p>
      </dsp:txBody>
      <dsp:txXfrm>
        <a:off x="4221457" y="898789"/>
        <a:ext cx="2354971" cy="717979"/>
      </dsp:txXfrm>
    </dsp:sp>
    <dsp:sp modelId="{A3851030-829F-49A1-9847-E4CD1F7A7C4C}">
      <dsp:nvSpPr>
        <dsp:cNvPr id="0" name=""/>
        <dsp:cNvSpPr/>
      </dsp:nvSpPr>
      <dsp:spPr>
        <a:xfrm>
          <a:off x="4221457" y="1796263"/>
          <a:ext cx="2354971" cy="7179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Global vault</a:t>
          </a:r>
          <a:endParaRPr lang="en-US" sz="1800" kern="1200" dirty="0">
            <a:latin typeface="Verdana (Headings)"/>
          </a:endParaRPr>
        </a:p>
      </dsp:txBody>
      <dsp:txXfrm>
        <a:off x="4221457" y="1796263"/>
        <a:ext cx="2354971" cy="717979"/>
      </dsp:txXfrm>
    </dsp:sp>
    <dsp:sp modelId="{7717EFBC-05ED-48B3-B1ED-2BF51FDC6A01}">
      <dsp:nvSpPr>
        <dsp:cNvPr id="0" name=""/>
        <dsp:cNvSpPr/>
      </dsp:nvSpPr>
      <dsp:spPr>
        <a:xfrm>
          <a:off x="1395491" y="3591211"/>
          <a:ext cx="2354971" cy="71797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Deploy-time vaults</a:t>
          </a:r>
          <a:endParaRPr lang="en-US" sz="1800" kern="1200" dirty="0">
            <a:latin typeface="Verdana (Headings)"/>
          </a:endParaRPr>
        </a:p>
      </dsp:txBody>
      <dsp:txXfrm>
        <a:off x="1395491" y="3591211"/>
        <a:ext cx="2354971" cy="717979"/>
      </dsp:txXfrm>
    </dsp:sp>
    <dsp:sp modelId="{573E5EDB-E564-41F3-8713-7740FA421B2B}">
      <dsp:nvSpPr>
        <dsp:cNvPr id="0" name=""/>
        <dsp:cNvSpPr/>
      </dsp:nvSpPr>
      <dsp:spPr>
        <a:xfrm>
          <a:off x="4221457" y="2693737"/>
          <a:ext cx="2354971" cy="7179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Deployment-specific vault</a:t>
          </a:r>
          <a:endParaRPr lang="en-US" sz="1800" kern="1200" dirty="0">
            <a:latin typeface="Verdana (Headings)"/>
          </a:endParaRPr>
        </a:p>
      </dsp:txBody>
      <dsp:txXfrm>
        <a:off x="4221457" y="2693737"/>
        <a:ext cx="2354971" cy="717979"/>
      </dsp:txXfrm>
    </dsp:sp>
    <dsp:sp modelId="{83A77307-FF2F-444B-B7E4-9D484F0A4076}">
      <dsp:nvSpPr>
        <dsp:cNvPr id="0" name=""/>
        <dsp:cNvSpPr/>
      </dsp:nvSpPr>
      <dsp:spPr>
        <a:xfrm>
          <a:off x="4221457" y="3591211"/>
          <a:ext cx="2354971" cy="7179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Service-wide vault</a:t>
          </a:r>
          <a:endParaRPr lang="en-US" sz="1800" kern="1200" dirty="0">
            <a:latin typeface="Verdana (Headings)"/>
          </a:endParaRPr>
        </a:p>
      </dsp:txBody>
      <dsp:txXfrm>
        <a:off x="4221457" y="3591211"/>
        <a:ext cx="2354971" cy="717979"/>
      </dsp:txXfrm>
    </dsp:sp>
    <dsp:sp modelId="{C531D248-2817-4EE2-8638-5B5379435DB9}">
      <dsp:nvSpPr>
        <dsp:cNvPr id="0" name=""/>
        <dsp:cNvSpPr/>
      </dsp:nvSpPr>
      <dsp:spPr>
        <a:xfrm>
          <a:off x="4221457" y="4488685"/>
          <a:ext cx="2354971" cy="71797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kern="1200" dirty="0">
              <a:latin typeface="Verdana (Headings)"/>
            </a:rPr>
            <a:t>Global vault</a:t>
          </a:r>
          <a:endParaRPr lang="en-US" sz="1800" kern="1200" dirty="0">
            <a:latin typeface="Verdana (Headings)"/>
          </a:endParaRPr>
        </a:p>
      </dsp:txBody>
      <dsp:txXfrm>
        <a:off x="4221457" y="4488685"/>
        <a:ext cx="2354971" cy="717979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F5860A-D64B-4B48-8CFD-9840B2CC64C4}">
      <dsp:nvSpPr>
        <dsp:cNvPr id="0" name=""/>
        <dsp:cNvSpPr/>
      </dsp:nvSpPr>
      <dsp:spPr>
        <a:xfrm>
          <a:off x="854075" y="959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 vs Blue</a:t>
          </a:r>
          <a:endParaRPr lang="nl-NL" sz="2000" kern="1200" dirty="0"/>
        </a:p>
      </dsp:txBody>
      <dsp:txXfrm>
        <a:off x="854075" y="959"/>
        <a:ext cx="2006203" cy="1203721"/>
      </dsp:txXfrm>
    </dsp:sp>
    <dsp:sp modelId="{B4959DB2-6E83-46B6-B5A9-B097CFADC048}">
      <dsp:nvSpPr>
        <dsp:cNvPr id="0" name=""/>
        <dsp:cNvSpPr/>
      </dsp:nvSpPr>
      <dsp:spPr>
        <a:xfrm>
          <a:off x="3060898" y="959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Shift </a:t>
          </a:r>
          <a:r>
            <a:rPr lang="en-US" sz="2000" kern="1200" dirty="0"/>
            <a:t>left</a:t>
          </a:r>
          <a:endParaRPr lang="nl-NL" sz="2000" kern="1200" dirty="0"/>
        </a:p>
      </dsp:txBody>
      <dsp:txXfrm>
        <a:off x="3060898" y="959"/>
        <a:ext cx="2006203" cy="1203721"/>
      </dsp:txXfrm>
    </dsp:sp>
    <dsp:sp modelId="{EBAAD436-1703-4DB0-A18D-AABEC0B74CB5}">
      <dsp:nvSpPr>
        <dsp:cNvPr id="0" name=""/>
        <dsp:cNvSpPr/>
      </dsp:nvSpPr>
      <dsp:spPr>
        <a:xfrm>
          <a:off x="5267721" y="959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eployment pipeline</a:t>
          </a:r>
          <a:endParaRPr lang="nl-NL" sz="2000" kern="1200" dirty="0"/>
        </a:p>
      </dsp:txBody>
      <dsp:txXfrm>
        <a:off x="5267721" y="959"/>
        <a:ext cx="2006203" cy="1203721"/>
      </dsp:txXfrm>
    </dsp:sp>
    <dsp:sp modelId="{BAF29656-BDA7-478B-9357-28CCCBBB88B6}">
      <dsp:nvSpPr>
        <dsp:cNvPr id="0" name=""/>
        <dsp:cNvSpPr/>
      </dsp:nvSpPr>
      <dsp:spPr>
        <a:xfrm>
          <a:off x="854075" y="1405301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frastructure as Code</a:t>
          </a:r>
          <a:endParaRPr lang="nl-NL" sz="2000" kern="1200" dirty="0"/>
        </a:p>
      </dsp:txBody>
      <dsp:txXfrm>
        <a:off x="854075" y="1405301"/>
        <a:ext cx="2006203" cy="1203721"/>
      </dsp:txXfrm>
    </dsp:sp>
    <dsp:sp modelId="{62722C4B-0D7D-48BA-A8A6-0914F840D924}">
      <dsp:nvSpPr>
        <dsp:cNvPr id="0" name=""/>
        <dsp:cNvSpPr/>
      </dsp:nvSpPr>
      <dsp:spPr>
        <a:xfrm>
          <a:off x="3060898" y="1405301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zure Key Vault</a:t>
          </a:r>
          <a:endParaRPr lang="nl-NL" sz="2000" kern="1200" dirty="0"/>
        </a:p>
      </dsp:txBody>
      <dsp:txXfrm>
        <a:off x="3060898" y="1405301"/>
        <a:ext cx="2006203" cy="1203721"/>
      </dsp:txXfrm>
    </dsp:sp>
    <dsp:sp modelId="{DF744ED3-A798-4133-A0C6-904785962B0B}">
      <dsp:nvSpPr>
        <dsp:cNvPr id="0" name=""/>
        <dsp:cNvSpPr/>
      </dsp:nvSpPr>
      <dsp:spPr>
        <a:xfrm>
          <a:off x="5267721" y="1405301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anaged Identities</a:t>
          </a:r>
          <a:endParaRPr lang="nl-NL" sz="2000" kern="1200" dirty="0"/>
        </a:p>
      </dsp:txBody>
      <dsp:txXfrm>
        <a:off x="5267721" y="1405301"/>
        <a:ext cx="2006203" cy="1203721"/>
      </dsp:txXfrm>
    </dsp:sp>
    <dsp:sp modelId="{9A6FC898-D3AF-4A1B-8EE7-3ED45C53E4B1}">
      <dsp:nvSpPr>
        <dsp:cNvPr id="0" name=""/>
        <dsp:cNvSpPr/>
      </dsp:nvSpPr>
      <dsp:spPr>
        <a:xfrm>
          <a:off x="854075" y="2809643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tatic Analysis</a:t>
          </a:r>
          <a:endParaRPr lang="nl-NL" sz="2000" kern="1200" dirty="0"/>
        </a:p>
      </dsp:txBody>
      <dsp:txXfrm>
        <a:off x="854075" y="2809643"/>
        <a:ext cx="2006203" cy="1203721"/>
      </dsp:txXfrm>
    </dsp:sp>
    <dsp:sp modelId="{D48714FC-633C-4867-8FBB-0AE79FE3102A}">
      <dsp:nvSpPr>
        <dsp:cNvPr id="0" name=""/>
        <dsp:cNvSpPr/>
      </dsp:nvSpPr>
      <dsp:spPr>
        <a:xfrm>
          <a:off x="3060898" y="2809643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untime monitoring</a:t>
          </a:r>
          <a:endParaRPr lang="nl-NL" sz="2000" kern="1200" dirty="0"/>
        </a:p>
      </dsp:txBody>
      <dsp:txXfrm>
        <a:off x="3060898" y="2809643"/>
        <a:ext cx="2006203" cy="1203721"/>
      </dsp:txXfrm>
    </dsp:sp>
    <dsp:sp modelId="{FB3693F6-40FB-4A06-8AA1-326263670335}">
      <dsp:nvSpPr>
        <dsp:cNvPr id="0" name=""/>
        <dsp:cNvSpPr/>
      </dsp:nvSpPr>
      <dsp:spPr>
        <a:xfrm>
          <a:off x="5267721" y="2809643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zure Security Center</a:t>
          </a:r>
          <a:endParaRPr lang="nl-NL" sz="2000" kern="1200" dirty="0"/>
        </a:p>
      </dsp:txBody>
      <dsp:txXfrm>
        <a:off x="5267721" y="2809643"/>
        <a:ext cx="2006203" cy="1203721"/>
      </dsp:txXfrm>
    </dsp:sp>
    <dsp:sp modelId="{CA7E8887-98E0-40D0-A7C3-35DC109BC450}">
      <dsp:nvSpPr>
        <dsp:cNvPr id="0" name=""/>
        <dsp:cNvSpPr/>
      </dsp:nvSpPr>
      <dsp:spPr>
        <a:xfrm>
          <a:off x="1957486" y="4213985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zure Sentinel</a:t>
          </a:r>
          <a:endParaRPr lang="nl-NL" sz="2000" kern="1200" dirty="0"/>
        </a:p>
      </dsp:txBody>
      <dsp:txXfrm>
        <a:off x="1957486" y="4213985"/>
        <a:ext cx="2006203" cy="1203721"/>
      </dsp:txXfrm>
    </dsp:sp>
    <dsp:sp modelId="{C7151A2A-E9C8-450D-A0EF-E5D47BBA2C7D}">
      <dsp:nvSpPr>
        <dsp:cNvPr id="0" name=""/>
        <dsp:cNvSpPr/>
      </dsp:nvSpPr>
      <dsp:spPr>
        <a:xfrm>
          <a:off x="4164310" y="4213985"/>
          <a:ext cx="2006203" cy="120372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GitHub</a:t>
          </a:r>
          <a:endParaRPr lang="nl-NL" sz="2000" kern="1200" dirty="0"/>
        </a:p>
      </dsp:txBody>
      <dsp:txXfrm>
        <a:off x="4164310" y="4213985"/>
        <a:ext cx="2006203" cy="12037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D8B6225-3E94-4525-8747-A8CEEE07C47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33FD8-B984-44FE-83F0-5C989EE624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88DC-9DE3-4390-97AB-D61B85DACE57}" type="datetimeFigureOut">
              <a:rPr lang="pt-PT" sz="900" smtClean="0"/>
              <a:pPr/>
              <a:t>15/10/19</a:t>
            </a:fld>
            <a:endParaRPr lang="pt-PT" sz="9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AD1E4F-EFF7-4551-A0B7-35D2A74F4F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 sz="9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F35C8-35E9-48DD-971F-B2366CC5B7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90BF9-40D8-49B5-87EF-599BB2C7EE93}" type="slidenum">
              <a:rPr lang="pt-PT" sz="900" smtClean="0"/>
              <a:pPr/>
              <a:t>‹#›</a:t>
            </a:fld>
            <a:endParaRPr lang="pt-PT" sz="900"/>
          </a:p>
        </p:txBody>
      </p:sp>
    </p:spTree>
    <p:extLst>
      <p:ext uri="{BB962C8B-B14F-4D97-AF65-F5344CB8AC3E}">
        <p14:creationId xmlns:p14="http://schemas.microsoft.com/office/powerpoint/2010/main" val="3609307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/>
            </a:lvl1pPr>
          </a:lstStyle>
          <a:p>
            <a:fld id="{0835B8F7-DAC4-4931-8AED-4356A8B2FD64}" type="datetimeFigureOut">
              <a:rPr lang="pt-BR" smtClean="0"/>
              <a:pPr/>
              <a:t>15/10/2019</a:t>
            </a:fld>
            <a:endParaRPr lang="pt-BR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/>
              <a:t>Insert comments</a:t>
            </a:r>
            <a:endParaRPr lang="pt-BR" dirty="0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/>
            </a:lvl1pPr>
          </a:lstStyle>
          <a:p>
            <a:endParaRPr lang="pt-BR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/>
            </a:lvl1pPr>
          </a:lstStyle>
          <a:p>
            <a:fld id="{C0696B5C-12A0-4042-B4D0-BD3B9A4F58C6}" type="slidenum">
              <a:rPr lang="pt-BR" smtClean="0"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53381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60626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A8D4AF-18D9-4A42-A995-A9191600A0E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657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A8D4AF-18D9-4A42-A995-A9191600A0E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18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9473E9-8B13-4F07-93CE-C7E2C07D4EAE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5/19 9:3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3721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9473E9-8B13-4F07-93CE-C7E2C07D4EAE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5/19 9:3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1679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4579F4-B433-4A8D-95C3-22D9940083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5/19 9:3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7948828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9473E9-8B13-4F07-93CE-C7E2C07D4EAE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5/19 9:3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6543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31370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4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201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52162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4579F4-B433-4A8D-95C3-22D9940083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5/19 9:3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47305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39821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696B5C-12A0-4042-B4D0-BD3B9A4F58C6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177904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4579F4-B433-4A8D-95C3-22D9940083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5/19 9:33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23006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79473E9-8B13-4F07-93CE-C7E2C07D4EAE}" type="datetime8">
              <a:rPr lang="en-US" smtClean="0"/>
              <a:t>10/15/19 9:3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300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79473E9-8B13-4F07-93CE-C7E2C07D4EAE}" type="datetime8">
              <a:rPr lang="en-US" smtClean="0"/>
              <a:t>10/15/19 9:3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488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79473E9-8B13-4F07-93CE-C7E2C07D4EAE}" type="datetime8">
              <a:rPr lang="en-US" smtClean="0"/>
              <a:t>10/15/19 9:33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687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2"/>
            <a:ext cx="11700000" cy="4466201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Freeform 6"/>
          <p:cNvSpPr>
            <a:spLocks/>
          </p:cNvSpPr>
          <p:nvPr userDrawn="1"/>
        </p:nvSpPr>
        <p:spPr bwMode="auto">
          <a:xfrm>
            <a:off x="0" y="0"/>
            <a:ext cx="7651750" cy="6858000"/>
          </a:xfrm>
          <a:custGeom>
            <a:avLst/>
            <a:gdLst/>
            <a:ahLst/>
            <a:cxnLst>
              <a:cxn ang="0">
                <a:pos x="0" y="4320"/>
              </a:cxn>
              <a:cxn ang="0">
                <a:pos x="0" y="18"/>
              </a:cxn>
              <a:cxn ang="0">
                <a:pos x="2" y="4"/>
              </a:cxn>
              <a:cxn ang="0">
                <a:pos x="18" y="0"/>
              </a:cxn>
              <a:cxn ang="0">
                <a:pos x="4802" y="0"/>
              </a:cxn>
              <a:cxn ang="0">
                <a:pos x="4812" y="0"/>
              </a:cxn>
              <a:cxn ang="0">
                <a:pos x="4820" y="8"/>
              </a:cxn>
              <a:cxn ang="0">
                <a:pos x="4820" y="18"/>
              </a:cxn>
              <a:cxn ang="0">
                <a:pos x="4820" y="50"/>
              </a:cxn>
              <a:cxn ang="0">
                <a:pos x="4816" y="52"/>
              </a:cxn>
              <a:cxn ang="0">
                <a:pos x="4816" y="64"/>
              </a:cxn>
              <a:cxn ang="0">
                <a:pos x="4808" y="138"/>
              </a:cxn>
              <a:cxn ang="0">
                <a:pos x="4800" y="200"/>
              </a:cxn>
              <a:cxn ang="0">
                <a:pos x="4776" y="318"/>
              </a:cxn>
              <a:cxn ang="0">
                <a:pos x="4744" y="434"/>
              </a:cxn>
              <a:cxn ang="0">
                <a:pos x="4704" y="544"/>
              </a:cxn>
              <a:cxn ang="0">
                <a:pos x="4654" y="652"/>
              </a:cxn>
              <a:cxn ang="0">
                <a:pos x="4594" y="754"/>
              </a:cxn>
              <a:cxn ang="0">
                <a:pos x="4528" y="852"/>
              </a:cxn>
              <a:cxn ang="0">
                <a:pos x="4452" y="948"/>
              </a:cxn>
              <a:cxn ang="0">
                <a:pos x="4410" y="994"/>
              </a:cxn>
              <a:cxn ang="0">
                <a:pos x="4342" y="1064"/>
              </a:cxn>
              <a:cxn ang="0">
                <a:pos x="4270" y="1130"/>
              </a:cxn>
              <a:cxn ang="0">
                <a:pos x="4118" y="1252"/>
              </a:cxn>
              <a:cxn ang="0">
                <a:pos x="3956" y="1360"/>
              </a:cxn>
              <a:cxn ang="0">
                <a:pos x="3786" y="1458"/>
              </a:cxn>
              <a:cxn ang="0">
                <a:pos x="3724" y="1488"/>
              </a:cxn>
              <a:cxn ang="0">
                <a:pos x="3542" y="1574"/>
              </a:cxn>
              <a:cxn ang="0">
                <a:pos x="3294" y="1678"/>
              </a:cxn>
              <a:cxn ang="0">
                <a:pos x="3028" y="1790"/>
              </a:cxn>
              <a:cxn ang="0">
                <a:pos x="2498" y="2020"/>
              </a:cxn>
              <a:cxn ang="0">
                <a:pos x="2238" y="2142"/>
              </a:cxn>
              <a:cxn ang="0">
                <a:pos x="2054" y="2232"/>
              </a:cxn>
              <a:cxn ang="0">
                <a:pos x="1872" y="2326"/>
              </a:cxn>
              <a:cxn ang="0">
                <a:pos x="1696" y="2428"/>
              </a:cxn>
              <a:cxn ang="0">
                <a:pos x="1522" y="2538"/>
              </a:cxn>
              <a:cxn ang="0">
                <a:pos x="1464" y="2578"/>
              </a:cxn>
              <a:cxn ang="0">
                <a:pos x="1350" y="2664"/>
              </a:cxn>
              <a:cxn ang="0">
                <a:pos x="1242" y="2758"/>
              </a:cxn>
              <a:cxn ang="0">
                <a:pos x="1142" y="2860"/>
              </a:cxn>
              <a:cxn ang="0">
                <a:pos x="1096" y="2916"/>
              </a:cxn>
              <a:cxn ang="0">
                <a:pos x="1030" y="3008"/>
              </a:cxn>
              <a:cxn ang="0">
                <a:pos x="976" y="3102"/>
              </a:cxn>
              <a:cxn ang="0">
                <a:pos x="934" y="3200"/>
              </a:cxn>
              <a:cxn ang="0">
                <a:pos x="904" y="3302"/>
              </a:cxn>
              <a:cxn ang="0">
                <a:pos x="884" y="3404"/>
              </a:cxn>
              <a:cxn ang="0">
                <a:pos x="878" y="3512"/>
              </a:cxn>
              <a:cxn ang="0">
                <a:pos x="884" y="3620"/>
              </a:cxn>
              <a:cxn ang="0">
                <a:pos x="900" y="3732"/>
              </a:cxn>
              <a:cxn ang="0">
                <a:pos x="914" y="3788"/>
              </a:cxn>
              <a:cxn ang="0">
                <a:pos x="944" y="3898"/>
              </a:cxn>
              <a:cxn ang="0">
                <a:pos x="982" y="4004"/>
              </a:cxn>
              <a:cxn ang="0">
                <a:pos x="1028" y="4108"/>
              </a:cxn>
              <a:cxn ang="0">
                <a:pos x="1052" y="4160"/>
              </a:cxn>
              <a:cxn ang="0">
                <a:pos x="1126" y="4302"/>
              </a:cxn>
              <a:cxn ang="0">
                <a:pos x="1130" y="4312"/>
              </a:cxn>
              <a:cxn ang="0">
                <a:pos x="1130" y="4318"/>
              </a:cxn>
              <a:cxn ang="0">
                <a:pos x="1116" y="4320"/>
              </a:cxn>
              <a:cxn ang="0">
                <a:pos x="1100" y="4320"/>
              </a:cxn>
              <a:cxn ang="0">
                <a:pos x="0" y="4320"/>
              </a:cxn>
            </a:cxnLst>
            <a:rect l="0" t="0" r="r" b="b"/>
            <a:pathLst>
              <a:path w="4820" h="4320">
                <a:moveTo>
                  <a:pt x="0" y="4320"/>
                </a:moveTo>
                <a:lnTo>
                  <a:pt x="0" y="4320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2" y="4"/>
                </a:lnTo>
                <a:lnTo>
                  <a:pt x="8" y="0"/>
                </a:lnTo>
                <a:lnTo>
                  <a:pt x="18" y="0"/>
                </a:lnTo>
                <a:lnTo>
                  <a:pt x="18" y="0"/>
                </a:lnTo>
                <a:lnTo>
                  <a:pt x="4802" y="0"/>
                </a:lnTo>
                <a:lnTo>
                  <a:pt x="4802" y="0"/>
                </a:lnTo>
                <a:lnTo>
                  <a:pt x="4812" y="0"/>
                </a:lnTo>
                <a:lnTo>
                  <a:pt x="4818" y="4"/>
                </a:lnTo>
                <a:lnTo>
                  <a:pt x="4820" y="8"/>
                </a:lnTo>
                <a:lnTo>
                  <a:pt x="4820" y="18"/>
                </a:lnTo>
                <a:lnTo>
                  <a:pt x="4820" y="18"/>
                </a:lnTo>
                <a:lnTo>
                  <a:pt x="4820" y="34"/>
                </a:lnTo>
                <a:lnTo>
                  <a:pt x="4820" y="50"/>
                </a:lnTo>
                <a:lnTo>
                  <a:pt x="4820" y="50"/>
                </a:lnTo>
                <a:lnTo>
                  <a:pt x="4816" y="52"/>
                </a:lnTo>
                <a:lnTo>
                  <a:pt x="4816" y="56"/>
                </a:lnTo>
                <a:lnTo>
                  <a:pt x="4816" y="64"/>
                </a:lnTo>
                <a:lnTo>
                  <a:pt x="4816" y="64"/>
                </a:lnTo>
                <a:lnTo>
                  <a:pt x="4808" y="138"/>
                </a:lnTo>
                <a:lnTo>
                  <a:pt x="4808" y="138"/>
                </a:lnTo>
                <a:lnTo>
                  <a:pt x="4800" y="200"/>
                </a:lnTo>
                <a:lnTo>
                  <a:pt x="4790" y="260"/>
                </a:lnTo>
                <a:lnTo>
                  <a:pt x="4776" y="318"/>
                </a:lnTo>
                <a:lnTo>
                  <a:pt x="4762" y="376"/>
                </a:lnTo>
                <a:lnTo>
                  <a:pt x="4744" y="434"/>
                </a:lnTo>
                <a:lnTo>
                  <a:pt x="4726" y="490"/>
                </a:lnTo>
                <a:lnTo>
                  <a:pt x="4704" y="544"/>
                </a:lnTo>
                <a:lnTo>
                  <a:pt x="4680" y="598"/>
                </a:lnTo>
                <a:lnTo>
                  <a:pt x="4654" y="652"/>
                </a:lnTo>
                <a:lnTo>
                  <a:pt x="4626" y="704"/>
                </a:lnTo>
                <a:lnTo>
                  <a:pt x="4594" y="754"/>
                </a:lnTo>
                <a:lnTo>
                  <a:pt x="4562" y="804"/>
                </a:lnTo>
                <a:lnTo>
                  <a:pt x="4528" y="852"/>
                </a:lnTo>
                <a:lnTo>
                  <a:pt x="4490" y="900"/>
                </a:lnTo>
                <a:lnTo>
                  <a:pt x="4452" y="948"/>
                </a:lnTo>
                <a:lnTo>
                  <a:pt x="4410" y="994"/>
                </a:lnTo>
                <a:lnTo>
                  <a:pt x="4410" y="994"/>
                </a:lnTo>
                <a:lnTo>
                  <a:pt x="4376" y="1030"/>
                </a:lnTo>
                <a:lnTo>
                  <a:pt x="4342" y="1064"/>
                </a:lnTo>
                <a:lnTo>
                  <a:pt x="4306" y="1098"/>
                </a:lnTo>
                <a:lnTo>
                  <a:pt x="4270" y="1130"/>
                </a:lnTo>
                <a:lnTo>
                  <a:pt x="4196" y="1194"/>
                </a:lnTo>
                <a:lnTo>
                  <a:pt x="4118" y="1252"/>
                </a:lnTo>
                <a:lnTo>
                  <a:pt x="4038" y="1308"/>
                </a:lnTo>
                <a:lnTo>
                  <a:pt x="3956" y="1360"/>
                </a:lnTo>
                <a:lnTo>
                  <a:pt x="3872" y="1410"/>
                </a:lnTo>
                <a:lnTo>
                  <a:pt x="3786" y="1458"/>
                </a:lnTo>
                <a:lnTo>
                  <a:pt x="3786" y="1458"/>
                </a:lnTo>
                <a:lnTo>
                  <a:pt x="3724" y="1488"/>
                </a:lnTo>
                <a:lnTo>
                  <a:pt x="3664" y="1518"/>
                </a:lnTo>
                <a:lnTo>
                  <a:pt x="3542" y="1574"/>
                </a:lnTo>
                <a:lnTo>
                  <a:pt x="3418" y="1626"/>
                </a:lnTo>
                <a:lnTo>
                  <a:pt x="3294" y="1678"/>
                </a:lnTo>
                <a:lnTo>
                  <a:pt x="3294" y="1678"/>
                </a:lnTo>
                <a:lnTo>
                  <a:pt x="3028" y="1790"/>
                </a:lnTo>
                <a:lnTo>
                  <a:pt x="2762" y="1904"/>
                </a:lnTo>
                <a:lnTo>
                  <a:pt x="2498" y="2020"/>
                </a:lnTo>
                <a:lnTo>
                  <a:pt x="2368" y="2080"/>
                </a:lnTo>
                <a:lnTo>
                  <a:pt x="2238" y="2142"/>
                </a:lnTo>
                <a:lnTo>
                  <a:pt x="2238" y="2142"/>
                </a:lnTo>
                <a:lnTo>
                  <a:pt x="2054" y="2232"/>
                </a:lnTo>
                <a:lnTo>
                  <a:pt x="1962" y="2278"/>
                </a:lnTo>
                <a:lnTo>
                  <a:pt x="1872" y="2326"/>
                </a:lnTo>
                <a:lnTo>
                  <a:pt x="1784" y="2376"/>
                </a:lnTo>
                <a:lnTo>
                  <a:pt x="1696" y="2428"/>
                </a:lnTo>
                <a:lnTo>
                  <a:pt x="1608" y="2482"/>
                </a:lnTo>
                <a:lnTo>
                  <a:pt x="1522" y="2538"/>
                </a:lnTo>
                <a:lnTo>
                  <a:pt x="1522" y="2538"/>
                </a:lnTo>
                <a:lnTo>
                  <a:pt x="1464" y="2578"/>
                </a:lnTo>
                <a:lnTo>
                  <a:pt x="1406" y="2620"/>
                </a:lnTo>
                <a:lnTo>
                  <a:pt x="1350" y="2664"/>
                </a:lnTo>
                <a:lnTo>
                  <a:pt x="1296" y="2710"/>
                </a:lnTo>
                <a:lnTo>
                  <a:pt x="1242" y="2758"/>
                </a:lnTo>
                <a:lnTo>
                  <a:pt x="1192" y="2808"/>
                </a:lnTo>
                <a:lnTo>
                  <a:pt x="1142" y="2860"/>
                </a:lnTo>
                <a:lnTo>
                  <a:pt x="1096" y="2916"/>
                </a:lnTo>
                <a:lnTo>
                  <a:pt x="1096" y="2916"/>
                </a:lnTo>
                <a:lnTo>
                  <a:pt x="1062" y="2962"/>
                </a:lnTo>
                <a:lnTo>
                  <a:pt x="1030" y="3008"/>
                </a:lnTo>
                <a:lnTo>
                  <a:pt x="1002" y="3054"/>
                </a:lnTo>
                <a:lnTo>
                  <a:pt x="976" y="3102"/>
                </a:lnTo>
                <a:lnTo>
                  <a:pt x="952" y="3152"/>
                </a:lnTo>
                <a:lnTo>
                  <a:pt x="934" y="3200"/>
                </a:lnTo>
                <a:lnTo>
                  <a:pt x="916" y="3250"/>
                </a:lnTo>
                <a:lnTo>
                  <a:pt x="904" y="3302"/>
                </a:lnTo>
                <a:lnTo>
                  <a:pt x="892" y="3352"/>
                </a:lnTo>
                <a:lnTo>
                  <a:pt x="884" y="3404"/>
                </a:lnTo>
                <a:lnTo>
                  <a:pt x="880" y="3458"/>
                </a:lnTo>
                <a:lnTo>
                  <a:pt x="878" y="3512"/>
                </a:lnTo>
                <a:lnTo>
                  <a:pt x="880" y="3566"/>
                </a:lnTo>
                <a:lnTo>
                  <a:pt x="884" y="3620"/>
                </a:lnTo>
                <a:lnTo>
                  <a:pt x="890" y="3676"/>
                </a:lnTo>
                <a:lnTo>
                  <a:pt x="900" y="3732"/>
                </a:lnTo>
                <a:lnTo>
                  <a:pt x="900" y="3732"/>
                </a:lnTo>
                <a:lnTo>
                  <a:pt x="914" y="3788"/>
                </a:lnTo>
                <a:lnTo>
                  <a:pt x="928" y="3844"/>
                </a:lnTo>
                <a:lnTo>
                  <a:pt x="944" y="3898"/>
                </a:lnTo>
                <a:lnTo>
                  <a:pt x="962" y="3952"/>
                </a:lnTo>
                <a:lnTo>
                  <a:pt x="982" y="4004"/>
                </a:lnTo>
                <a:lnTo>
                  <a:pt x="1004" y="4056"/>
                </a:lnTo>
                <a:lnTo>
                  <a:pt x="1028" y="4108"/>
                </a:lnTo>
                <a:lnTo>
                  <a:pt x="1052" y="4160"/>
                </a:lnTo>
                <a:lnTo>
                  <a:pt x="1052" y="4160"/>
                </a:lnTo>
                <a:lnTo>
                  <a:pt x="1088" y="4232"/>
                </a:lnTo>
                <a:lnTo>
                  <a:pt x="1126" y="4302"/>
                </a:lnTo>
                <a:lnTo>
                  <a:pt x="1126" y="4302"/>
                </a:lnTo>
                <a:lnTo>
                  <a:pt x="1130" y="4312"/>
                </a:lnTo>
                <a:lnTo>
                  <a:pt x="1132" y="4316"/>
                </a:lnTo>
                <a:lnTo>
                  <a:pt x="1130" y="4318"/>
                </a:lnTo>
                <a:lnTo>
                  <a:pt x="1126" y="4320"/>
                </a:lnTo>
                <a:lnTo>
                  <a:pt x="1116" y="4320"/>
                </a:lnTo>
                <a:lnTo>
                  <a:pt x="1116" y="4320"/>
                </a:lnTo>
                <a:lnTo>
                  <a:pt x="1100" y="4320"/>
                </a:lnTo>
                <a:lnTo>
                  <a:pt x="1100" y="4320"/>
                </a:lnTo>
                <a:lnTo>
                  <a:pt x="0" y="4320"/>
                </a:lnTo>
                <a:lnTo>
                  <a:pt x="0" y="4320"/>
                </a:lnTo>
                <a:close/>
              </a:path>
            </a:pathLst>
          </a:custGeom>
          <a:solidFill>
            <a:srgbClr val="12AADA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D4E263B9-5E55-409E-9F7C-2F67A89E0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3300" y="0"/>
            <a:ext cx="9918700" cy="685958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pt-PT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5C674D03-4995-4743-8CE4-61CF32CFBD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708" y="434513"/>
            <a:ext cx="5419268" cy="1902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60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insert section title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12760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7348" y="1815351"/>
            <a:ext cx="11700000" cy="4466201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227349" y="1148607"/>
            <a:ext cx="11700000" cy="5040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Master subtitle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349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8D7F005-BA7C-423E-87B0-6782D88233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7349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7BDC0DA-1585-454D-9E74-41D2AFC0FE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4016" y="1420989"/>
            <a:ext cx="5400000" cy="74398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 sz="1800" b="1">
                <a:solidFill>
                  <a:srgbClr val="12ABDB"/>
                </a:solidFill>
              </a:defRPr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7CE2609-37DA-4C4C-BF45-E56CE85AA4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4016" y="2205319"/>
            <a:ext cx="5400000" cy="4076234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35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38778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66940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922307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1568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3921" strike="noStrike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25436517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952631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u texte 3"/>
          <p:cNvSpPr>
            <a:spLocks noGrp="1"/>
          </p:cNvSpPr>
          <p:nvPr userDrawn="1">
            <p:ph type="body" idx="1"/>
          </p:nvPr>
        </p:nvSpPr>
        <p:spPr>
          <a:xfrm>
            <a:off x="227348" y="1815352"/>
            <a:ext cx="11700000" cy="44662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Click to insert </a:t>
            </a:r>
            <a:r>
              <a:rPr lang="fr-FR" dirty="0" err="1"/>
              <a:t>title</a:t>
            </a:r>
            <a:endParaRPr lang="en-US" dirty="0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231F4250-75BE-456B-A9D8-680BA414524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F1244FD-1856-4971-9A73-AD6DF3F42A90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2B40C78-6F20-4C95-AB26-B29FEC0FF747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AED4E7D-39CE-49AE-9D4C-16EA940CBE5F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92DC803-B0F7-4D0E-81CA-9DDCB14FA42C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3C5671A-353B-4887-BEEF-56CEFAE8D83D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CC6ACEFF-8651-4C08-BAF6-3BFAE6473DAF}"/>
              </a:ext>
            </a:extLst>
          </p:cNvPr>
          <p:cNvGrpSpPr/>
          <p:nvPr userDrawn="1"/>
        </p:nvGrpSpPr>
        <p:grpSpPr>
          <a:xfrm>
            <a:off x="12355040" y="1954479"/>
            <a:ext cx="360000" cy="4875772"/>
            <a:chOff x="12355040" y="1954479"/>
            <a:chExt cx="360000" cy="48757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27E2B2B-AB85-4173-AB1F-61084925AA83}"/>
                </a:ext>
              </a:extLst>
            </p:cNvPr>
            <p:cNvSpPr/>
            <p:nvPr userDrawn="1"/>
          </p:nvSpPr>
          <p:spPr>
            <a:xfrm>
              <a:off x="12355040" y="1954479"/>
              <a:ext cx="360000" cy="360000"/>
            </a:xfrm>
            <a:prstGeom prst="rect">
              <a:avLst/>
            </a:prstGeom>
            <a:solidFill>
              <a:srgbClr val="80B8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DDEBD8A-CA0B-4D62-9426-DFB2D4742184}"/>
                </a:ext>
              </a:extLst>
            </p:cNvPr>
            <p:cNvSpPr/>
            <p:nvPr userDrawn="1"/>
          </p:nvSpPr>
          <p:spPr>
            <a:xfrm>
              <a:off x="12355040" y="2301846"/>
              <a:ext cx="360000" cy="360000"/>
            </a:xfrm>
            <a:prstGeom prst="rect">
              <a:avLst/>
            </a:prstGeom>
            <a:solidFill>
              <a:srgbClr val="88D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marL="58738"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5515214-3AFD-4A2B-95C5-2FDFF59A1BE2}"/>
                </a:ext>
              </a:extLst>
            </p:cNvPr>
            <p:cNvSpPr/>
            <p:nvPr userDrawn="1"/>
          </p:nvSpPr>
          <p:spPr>
            <a:xfrm>
              <a:off x="12355040" y="5080782"/>
              <a:ext cx="360000" cy="360000"/>
            </a:xfrm>
            <a:prstGeom prst="rect">
              <a:avLst/>
            </a:prstGeom>
            <a:solidFill>
              <a:srgbClr val="6D64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4829A-E5EF-4140-B9ED-AC7745AB028D}"/>
                </a:ext>
              </a:extLst>
            </p:cNvPr>
            <p:cNvSpPr/>
            <p:nvPr userDrawn="1"/>
          </p:nvSpPr>
          <p:spPr>
            <a:xfrm>
              <a:off x="12355040" y="6470251"/>
              <a:ext cx="360000" cy="360000"/>
            </a:xfrm>
            <a:prstGeom prst="rect">
              <a:avLst/>
            </a:prstGeom>
            <a:solidFill>
              <a:srgbClr val="FF63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59B3FCE-0262-45FE-BE39-9459C5BC7FEE}"/>
                </a:ext>
              </a:extLst>
            </p:cNvPr>
            <p:cNvSpPr/>
            <p:nvPr userDrawn="1"/>
          </p:nvSpPr>
          <p:spPr>
            <a:xfrm>
              <a:off x="12355040" y="4038681"/>
              <a:ext cx="360000" cy="360000"/>
            </a:xfrm>
            <a:prstGeom prst="rect">
              <a:avLst/>
            </a:prstGeom>
            <a:solidFill>
              <a:srgbClr val="C8FF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D692DE-D6DE-4022-9F2F-5F8C1403E4D0}"/>
                </a:ext>
              </a:extLst>
            </p:cNvPr>
            <p:cNvSpPr/>
            <p:nvPr userDrawn="1"/>
          </p:nvSpPr>
          <p:spPr>
            <a:xfrm>
              <a:off x="12355040" y="4733415"/>
              <a:ext cx="360000" cy="360000"/>
            </a:xfrm>
            <a:prstGeom prst="rect">
              <a:avLst/>
            </a:prstGeom>
            <a:solidFill>
              <a:srgbClr val="7E39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5EEF2F0-E01D-4851-96E7-30214EC78A3B}"/>
                </a:ext>
              </a:extLst>
            </p:cNvPr>
            <p:cNvSpPr/>
            <p:nvPr userDrawn="1"/>
          </p:nvSpPr>
          <p:spPr>
            <a:xfrm>
              <a:off x="12355040" y="3691314"/>
              <a:ext cx="360000" cy="360000"/>
            </a:xfrm>
            <a:prstGeom prst="rect">
              <a:avLst/>
            </a:prstGeom>
            <a:solidFill>
              <a:srgbClr val="00C3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68B1DDD-74B0-4453-A996-5BA8693FF545}"/>
                </a:ext>
              </a:extLst>
            </p:cNvPr>
            <p:cNvSpPr/>
            <p:nvPr userDrawn="1"/>
          </p:nvSpPr>
          <p:spPr>
            <a:xfrm>
              <a:off x="12355040" y="2649213"/>
              <a:ext cx="360000" cy="360000"/>
            </a:xfrm>
            <a:prstGeom prst="rect">
              <a:avLst/>
            </a:prstGeom>
            <a:solidFill>
              <a:srgbClr val="1563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09D5E9-1B2A-4D30-A4DD-47B7C9BBCEDC}"/>
                </a:ext>
              </a:extLst>
            </p:cNvPr>
            <p:cNvSpPr/>
            <p:nvPr userDrawn="1"/>
          </p:nvSpPr>
          <p:spPr>
            <a:xfrm>
              <a:off x="12355040" y="2996580"/>
              <a:ext cx="360000" cy="360000"/>
            </a:xfrm>
            <a:prstGeom prst="rect">
              <a:avLst/>
            </a:prstGeom>
            <a:solidFill>
              <a:srgbClr val="0F99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95FF3A0-94CA-40BA-AF81-B777FF5FD489}"/>
                </a:ext>
              </a:extLst>
            </p:cNvPr>
            <p:cNvSpPr/>
            <p:nvPr userDrawn="1"/>
          </p:nvSpPr>
          <p:spPr>
            <a:xfrm>
              <a:off x="12355040" y="3343947"/>
              <a:ext cx="360000" cy="360000"/>
            </a:xfrm>
            <a:prstGeom prst="rect">
              <a:avLst/>
            </a:prstGeom>
            <a:solidFill>
              <a:srgbClr val="01D1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F83F12C-5135-43B7-B1D8-A0A72DB85AED}"/>
                </a:ext>
              </a:extLst>
            </p:cNvPr>
            <p:cNvSpPr/>
            <p:nvPr userDrawn="1"/>
          </p:nvSpPr>
          <p:spPr>
            <a:xfrm>
              <a:off x="12355040" y="6122883"/>
              <a:ext cx="360000" cy="360000"/>
            </a:xfrm>
            <a:prstGeom prst="rect">
              <a:avLst/>
            </a:prstGeom>
            <a:solidFill>
              <a:srgbClr val="FF7E8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56CA1CF-2C4A-42DA-94F5-CB5E5B47F24B}"/>
                </a:ext>
              </a:extLst>
            </p:cNvPr>
            <p:cNvSpPr/>
            <p:nvPr userDrawn="1"/>
          </p:nvSpPr>
          <p:spPr>
            <a:xfrm>
              <a:off x="12355040" y="5775516"/>
              <a:ext cx="360000" cy="360000"/>
            </a:xfrm>
            <a:prstGeom prst="rect">
              <a:avLst/>
            </a:prstGeom>
            <a:solidFill>
              <a:srgbClr val="CB29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F07AFA-8569-4B3B-854A-60B26629D96D}"/>
                </a:ext>
              </a:extLst>
            </p:cNvPr>
            <p:cNvSpPr/>
            <p:nvPr userDrawn="1"/>
          </p:nvSpPr>
          <p:spPr>
            <a:xfrm>
              <a:off x="12355040" y="5428149"/>
              <a:ext cx="360000" cy="360000"/>
            </a:xfrm>
            <a:prstGeom prst="rect">
              <a:avLst/>
            </a:prstGeom>
            <a:solidFill>
              <a:srgbClr val="860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103554C-8B73-4C9A-AFFF-55D6E47A0E76}"/>
                </a:ext>
              </a:extLst>
            </p:cNvPr>
            <p:cNvSpPr/>
            <p:nvPr userDrawn="1"/>
          </p:nvSpPr>
          <p:spPr>
            <a:xfrm>
              <a:off x="12355040" y="4386048"/>
              <a:ext cx="360000" cy="360000"/>
            </a:xfrm>
            <a:prstGeom prst="rect">
              <a:avLst/>
            </a:prstGeom>
            <a:solidFill>
              <a:srgbClr val="470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2778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7" r:id="rId2"/>
    <p:sldLayoutId id="2147483831" r:id="rId3"/>
    <p:sldLayoutId id="2147483821" r:id="rId4"/>
    <p:sldLayoutId id="2147483877" r:id="rId5"/>
    <p:sldLayoutId id="2147483969" r:id="rId6"/>
    <p:sldLayoutId id="2147483970" r:id="rId7"/>
    <p:sldLayoutId id="2147483971" r:id="rId8"/>
    <p:sldLayoutId id="2147483972" r:id="rId9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2667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4445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223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Verdana" panose="020B0604030504040204" pitchFamily="34" charset="0"/>
        <a:buChar char="‒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812800" indent="-1905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506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143">
          <p15:clr>
            <a:srgbClr val="F26B43"/>
          </p15:clr>
        </p15:guide>
        <p15:guide id="5" orient="horz" pos="113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e 1"/>
          <p:cNvGrpSpPr/>
          <p:nvPr userDrawn="1"/>
        </p:nvGrpSpPr>
        <p:grpSpPr>
          <a:xfrm>
            <a:off x="11501102" y="171573"/>
            <a:ext cx="419436" cy="388988"/>
            <a:chOff x="11501102" y="171573"/>
            <a:chExt cx="419436" cy="388988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auto">
            <a:xfrm>
              <a:off x="11644642" y="334376"/>
              <a:ext cx="275896" cy="226185"/>
            </a:xfrm>
            <a:custGeom>
              <a:avLst/>
              <a:gdLst/>
              <a:ahLst/>
              <a:cxnLst>
                <a:cxn ang="0">
                  <a:pos x="125" y="107"/>
                </a:cxn>
                <a:cxn ang="0">
                  <a:pos x="188" y="43"/>
                </a:cxn>
                <a:cxn ang="0">
                  <a:pos x="141" y="0"/>
                </a:cxn>
                <a:cxn ang="0">
                  <a:pos x="49" y="99"/>
                </a:cxn>
                <a:cxn ang="0">
                  <a:pos x="0" y="144"/>
                </a:cxn>
                <a:cxn ang="0">
                  <a:pos x="37" y="154"/>
                </a:cxn>
                <a:cxn ang="0">
                  <a:pos x="125" y="125"/>
                </a:cxn>
                <a:cxn ang="0">
                  <a:pos x="81" y="86"/>
                </a:cxn>
                <a:cxn ang="0">
                  <a:pos x="125" y="107"/>
                </a:cxn>
              </a:cxnLst>
              <a:rect l="0" t="0" r="r" b="b"/>
              <a:pathLst>
                <a:path w="188" h="154">
                  <a:moveTo>
                    <a:pt x="125" y="107"/>
                  </a:moveTo>
                  <a:cubicBezTo>
                    <a:pt x="160" y="107"/>
                    <a:pt x="188" y="78"/>
                    <a:pt x="188" y="43"/>
                  </a:cubicBezTo>
                  <a:cubicBezTo>
                    <a:pt x="186" y="28"/>
                    <a:pt x="181" y="0"/>
                    <a:pt x="141" y="0"/>
                  </a:cubicBezTo>
                  <a:cubicBezTo>
                    <a:pt x="99" y="0"/>
                    <a:pt x="84" y="60"/>
                    <a:pt x="49" y="99"/>
                  </a:cubicBezTo>
                  <a:cubicBezTo>
                    <a:pt x="47" y="121"/>
                    <a:pt x="26" y="140"/>
                    <a:pt x="0" y="144"/>
                  </a:cubicBezTo>
                  <a:cubicBezTo>
                    <a:pt x="6" y="150"/>
                    <a:pt x="20" y="154"/>
                    <a:pt x="37" y="154"/>
                  </a:cubicBezTo>
                  <a:cubicBezTo>
                    <a:pt x="68" y="154"/>
                    <a:pt x="106" y="145"/>
                    <a:pt x="125" y="125"/>
                  </a:cubicBezTo>
                  <a:cubicBezTo>
                    <a:pt x="99" y="126"/>
                    <a:pt x="82" y="109"/>
                    <a:pt x="81" y="86"/>
                  </a:cubicBezTo>
                  <a:cubicBezTo>
                    <a:pt x="93" y="101"/>
                    <a:pt x="108" y="107"/>
                    <a:pt x="125" y="107"/>
                  </a:cubicBezTo>
                </a:path>
              </a:pathLst>
            </a:custGeom>
            <a:solidFill>
              <a:srgbClr val="12AB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auto">
            <a:xfrm>
              <a:off x="11501102" y="171573"/>
              <a:ext cx="419436" cy="356676"/>
            </a:xfrm>
            <a:custGeom>
              <a:avLst/>
              <a:gdLst/>
              <a:ahLst/>
              <a:cxnLst>
                <a:cxn ang="0">
                  <a:pos x="286" y="152"/>
                </a:cxn>
                <a:cxn ang="0">
                  <a:pos x="237" y="51"/>
                </a:cxn>
                <a:cxn ang="0">
                  <a:pos x="160" y="3"/>
                </a:cxn>
                <a:cxn ang="0">
                  <a:pos x="153" y="0"/>
                </a:cxn>
                <a:cxn ang="0">
                  <a:pos x="153" y="0"/>
                </a:cxn>
                <a:cxn ang="0">
                  <a:pos x="0" y="158"/>
                </a:cxn>
                <a:cxn ang="0">
                  <a:pos x="53" y="236"/>
                </a:cxn>
                <a:cxn ang="0">
                  <a:pos x="107" y="237"/>
                </a:cxn>
                <a:cxn ang="0">
                  <a:pos x="147" y="210"/>
                </a:cxn>
                <a:cxn ang="0">
                  <a:pos x="239" y="111"/>
                </a:cxn>
                <a:cxn ang="0">
                  <a:pos x="286" y="154"/>
                </a:cxn>
                <a:cxn ang="0">
                  <a:pos x="286" y="152"/>
                </a:cxn>
              </a:cxnLst>
              <a:rect l="0" t="0" r="r" b="b"/>
              <a:pathLst>
                <a:path w="286" h="243">
                  <a:moveTo>
                    <a:pt x="286" y="152"/>
                  </a:moveTo>
                  <a:cubicBezTo>
                    <a:pt x="286" y="112"/>
                    <a:pt x="266" y="78"/>
                    <a:pt x="237" y="51"/>
                  </a:cubicBezTo>
                  <a:cubicBezTo>
                    <a:pt x="215" y="30"/>
                    <a:pt x="188" y="15"/>
                    <a:pt x="160" y="3"/>
                  </a:cubicBezTo>
                  <a:cubicBezTo>
                    <a:pt x="158" y="2"/>
                    <a:pt x="156" y="1"/>
                    <a:pt x="15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9" y="41"/>
                    <a:pt x="0" y="72"/>
                    <a:pt x="0" y="158"/>
                  </a:cubicBezTo>
                  <a:cubicBezTo>
                    <a:pt x="0" y="192"/>
                    <a:pt x="21" y="224"/>
                    <a:pt x="53" y="236"/>
                  </a:cubicBezTo>
                  <a:cubicBezTo>
                    <a:pt x="71" y="243"/>
                    <a:pt x="89" y="243"/>
                    <a:pt x="107" y="237"/>
                  </a:cubicBezTo>
                  <a:cubicBezTo>
                    <a:pt x="123" y="232"/>
                    <a:pt x="136" y="222"/>
                    <a:pt x="147" y="210"/>
                  </a:cubicBezTo>
                  <a:cubicBezTo>
                    <a:pt x="182" y="171"/>
                    <a:pt x="197" y="111"/>
                    <a:pt x="239" y="111"/>
                  </a:cubicBezTo>
                  <a:cubicBezTo>
                    <a:pt x="279" y="111"/>
                    <a:pt x="284" y="139"/>
                    <a:pt x="286" y="154"/>
                  </a:cubicBezTo>
                  <a:cubicBezTo>
                    <a:pt x="286" y="154"/>
                    <a:pt x="286" y="153"/>
                    <a:pt x="286" y="152"/>
                  </a:cubicBezTo>
                </a:path>
              </a:pathLst>
            </a:custGeom>
            <a:solidFill>
              <a:srgbClr val="0070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9CCBF2C1-AE84-4920-BA55-06A21A3C64E9}"/>
              </a:ext>
            </a:extLst>
          </p:cNvPr>
          <p:cNvGrpSpPr/>
          <p:nvPr userDrawn="1"/>
        </p:nvGrpSpPr>
        <p:grpSpPr>
          <a:xfrm>
            <a:off x="12355040" y="33161"/>
            <a:ext cx="360000" cy="1800000"/>
            <a:chOff x="12355040" y="33161"/>
            <a:chExt cx="360000" cy="180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8F5EF3-2356-4B1F-860E-01CACCDDB0BA}"/>
                </a:ext>
              </a:extLst>
            </p:cNvPr>
            <p:cNvSpPr/>
            <p:nvPr userDrawn="1"/>
          </p:nvSpPr>
          <p:spPr>
            <a:xfrm>
              <a:off x="12355040" y="33161"/>
              <a:ext cx="360000" cy="36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A3EC8E9-315E-47E1-AF32-83834998FDA6}"/>
                </a:ext>
              </a:extLst>
            </p:cNvPr>
            <p:cNvSpPr/>
            <p:nvPr userDrawn="1"/>
          </p:nvSpPr>
          <p:spPr>
            <a:xfrm>
              <a:off x="12355040" y="393161"/>
              <a:ext cx="360000" cy="36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DAF62B2-11CC-4B22-9A4B-18FA2DE2B586}"/>
                </a:ext>
              </a:extLst>
            </p:cNvPr>
            <p:cNvSpPr/>
            <p:nvPr userDrawn="1"/>
          </p:nvSpPr>
          <p:spPr>
            <a:xfrm>
              <a:off x="12355040" y="753161"/>
              <a:ext cx="360000" cy="360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75D6175-E1F7-4C00-B893-FDD3A3F704F4}"/>
                </a:ext>
              </a:extLst>
            </p:cNvPr>
            <p:cNvSpPr/>
            <p:nvPr userDrawn="1"/>
          </p:nvSpPr>
          <p:spPr>
            <a:xfrm>
              <a:off x="12355040" y="1113161"/>
              <a:ext cx="360000" cy="36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23D6F31-6A70-49F8-85C0-D3D2946BE1DF}"/>
                </a:ext>
              </a:extLst>
            </p:cNvPr>
            <p:cNvSpPr/>
            <p:nvPr userDrawn="1"/>
          </p:nvSpPr>
          <p:spPr>
            <a:xfrm>
              <a:off x="12355040" y="1473161"/>
              <a:ext cx="360000" cy="360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/>
            <a:lstStyle/>
            <a:p>
              <a:pPr algn="ctr">
                <a:spcAft>
                  <a:spcPts val="300"/>
                </a:spcAft>
              </a:pPr>
              <a:endParaRPr lang="en-GB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4278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</p:sldLayoutIdLst>
  <p:txStyles>
    <p:titleStyle>
      <a:lvl1pPr marL="0" marR="0" indent="0" algn="l" defTabSz="91440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000" b="0" i="0" u="none" strike="noStrike" kern="1200" cap="none" spc="0" normalizeH="0" baseline="0" noProof="0" dirty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900113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1260475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4pPr>
      <a:lvl5pPr marL="16208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75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emf"/><Relationship Id="rId7" Type="http://schemas.openxmlformats.org/officeDocument/2006/relationships/image" Target="../media/image2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10" Type="http://schemas.openxmlformats.org/officeDocument/2006/relationships/image" Target="../media/image23.png"/><Relationship Id="rId4" Type="http://schemas.openxmlformats.org/officeDocument/2006/relationships/image" Target="../media/image17.emf"/><Relationship Id="rId9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26" Type="http://schemas.openxmlformats.org/officeDocument/2006/relationships/diagramColors" Target="../diagrams/colors6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5" Type="http://schemas.openxmlformats.org/officeDocument/2006/relationships/diagramQuickStyle" Target="../diagrams/quickStyle6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diagramLayout" Target="../diagrams/layout6.xml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diagramData" Target="../diagrams/data6.xml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Relationship Id="rId27" Type="http://schemas.microsoft.com/office/2007/relationships/diagramDrawing" Target="../diagrams/drawing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body" sz="quarter" idx="11"/>
          </p:nvPr>
        </p:nvSpPr>
        <p:spPr>
          <a:xfrm>
            <a:off x="460708" y="434513"/>
            <a:ext cx="4771196" cy="90625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outer de Ko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927648" y="3645024"/>
            <a:ext cx="9264352" cy="773956"/>
          </a:xfrm>
          <a:prstGeom prst="rect">
            <a:avLst/>
          </a:prstGeom>
        </p:spPr>
        <p:txBody>
          <a:bodyPr/>
          <a:lstStyle/>
          <a:p>
            <a:r>
              <a:rPr lang="nl-NL" sz="4000" dirty="0" err="1"/>
              <a:t>Securing</a:t>
            </a:r>
            <a:r>
              <a:rPr lang="nl-NL" sz="4000" dirty="0"/>
              <a:t> </a:t>
            </a:r>
            <a:r>
              <a:rPr lang="nl-NL" sz="4000" dirty="0" err="1"/>
              <a:t>applications</a:t>
            </a:r>
            <a:r>
              <a:rPr lang="nl-NL" sz="4000" dirty="0"/>
              <a:t> </a:t>
            </a:r>
            <a:r>
              <a:rPr lang="nl-NL" sz="4000" dirty="0" err="1"/>
              <a:t>with</a:t>
            </a:r>
            <a:r>
              <a:rPr lang="nl-NL" sz="4000" dirty="0"/>
              <a:t> </a:t>
            </a:r>
            <a:r>
              <a:rPr lang="nl-NL" sz="4000" dirty="0" err="1"/>
              <a:t>DevOps</a:t>
            </a:r>
            <a:endParaRPr lang="pl-PL" sz="4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D56B4F5D-869E-41EE-B1BC-00F422C9D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AU" sz="3200" dirty="0"/>
            </a:br>
            <a:r>
              <a:rPr lang="en-AU" sz="3200" dirty="0"/>
              <a:t>Every time someone viewed the dashboard…</a:t>
            </a:r>
            <a:br>
              <a:rPr lang="en-AU" sz="3200" dirty="0"/>
            </a:br>
            <a:endParaRPr lang="nl-NL" dirty="0"/>
          </a:p>
        </p:txBody>
      </p:sp>
      <p:pic>
        <p:nvPicPr>
          <p:cNvPr id="8" name="Content Placeholder 3">
            <a:extLst>
              <a:ext uri="{FF2B5EF4-FFF2-40B4-BE49-F238E27FC236}">
                <a16:creationId xmlns:a16="http://schemas.microsoft.com/office/drawing/2014/main" id="{C21A329B-4B30-4865-9180-5882391F5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3335" y="1825625"/>
            <a:ext cx="8465330" cy="4351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47338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26800" y="0"/>
            <a:ext cx="11655840" cy="899665"/>
          </a:xfrm>
        </p:spPr>
        <p:txBody>
          <a:bodyPr/>
          <a:lstStyle/>
          <a:p>
            <a:br>
              <a:rPr lang="en-US" sz="3000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3000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mple Guidelines</a:t>
            </a:r>
            <a:br>
              <a:rPr lang="en-US" sz="3000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en-US" sz="3000" dirty="0">
              <a:solidFill>
                <a:srgbClr val="0070A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4444294"/>
          </a:xfrm>
        </p:spPr>
        <p:txBody>
          <a:bodyPr/>
          <a:lstStyle/>
          <a:p>
            <a:r>
              <a:rPr lang="en-US" sz="2400" dirty="0">
                <a:solidFill>
                  <a:srgbClr val="0070AD"/>
                </a:solidFill>
                <a:latin typeface="Verdana (Headings)"/>
              </a:rPr>
              <a:t>Code of Conduct</a:t>
            </a:r>
          </a:p>
          <a:p>
            <a:pPr lvl="1"/>
            <a:r>
              <a:rPr lang="en-US" sz="1600" dirty="0">
                <a:latin typeface="Verdana (Headings)"/>
              </a:rPr>
              <a:t>Both the Blue Team and the Red Team will do no harm.</a:t>
            </a:r>
          </a:p>
          <a:p>
            <a:pPr lvl="1"/>
            <a:r>
              <a:rPr lang="en-US" sz="1600" dirty="0">
                <a:latin typeface="Verdana (Headings)"/>
              </a:rPr>
              <a:t>The Red Team should not compromise more than needed to capture target assets.</a:t>
            </a:r>
          </a:p>
          <a:p>
            <a:pPr lvl="1"/>
            <a:r>
              <a:rPr lang="en-US" sz="1600" dirty="0">
                <a:latin typeface="Verdana (Headings)"/>
              </a:rPr>
              <a:t>Common sense rules apply to physical attacks (no printing badges, harassing people, etc.)</a:t>
            </a:r>
          </a:p>
          <a:p>
            <a:pPr lvl="1"/>
            <a:r>
              <a:rPr lang="en-US" sz="1600" dirty="0">
                <a:latin typeface="Verdana (Headings)"/>
              </a:rPr>
              <a:t>Do not disclose the name of the person who was compromised in a social engineering attack.</a:t>
            </a:r>
          </a:p>
          <a:p>
            <a:r>
              <a:rPr lang="en-US" sz="2400" dirty="0">
                <a:solidFill>
                  <a:srgbClr val="0070AD"/>
                </a:solidFill>
                <a:latin typeface="Verdana (Headings)"/>
              </a:rPr>
              <a:t>Rules of Engagement</a:t>
            </a:r>
          </a:p>
          <a:p>
            <a:pPr lvl="1"/>
            <a:r>
              <a:rPr lang="en-US" sz="1600" dirty="0">
                <a:latin typeface="Verdana (Headings)"/>
              </a:rPr>
              <a:t>Do not impact availability of any system.</a:t>
            </a:r>
          </a:p>
          <a:p>
            <a:pPr lvl="1"/>
            <a:r>
              <a:rPr lang="en-US" sz="1600" dirty="0">
                <a:latin typeface="Verdana (Headings)"/>
              </a:rPr>
              <a:t>Do not access external customer data.</a:t>
            </a:r>
          </a:p>
          <a:p>
            <a:pPr lvl="1"/>
            <a:r>
              <a:rPr lang="en-US" sz="1600" dirty="0">
                <a:latin typeface="Verdana (Headings)"/>
              </a:rPr>
              <a:t>Do not significantly weaken in-place security protections on any service.</a:t>
            </a:r>
          </a:p>
          <a:p>
            <a:pPr lvl="1"/>
            <a:r>
              <a:rPr lang="en-US" sz="1600" dirty="0">
                <a:latin typeface="Verdana (Headings)"/>
              </a:rPr>
              <a:t>Do not intentionally perform destructive actions against any resources.</a:t>
            </a:r>
          </a:p>
          <a:p>
            <a:pPr lvl="1"/>
            <a:r>
              <a:rPr lang="en-US" sz="1600" dirty="0">
                <a:latin typeface="Verdana (Headings)"/>
              </a:rPr>
              <a:t>Safeguard credentials, vulnerabilities and other critical information obtained.</a:t>
            </a:r>
          </a:p>
          <a:p>
            <a:r>
              <a:rPr lang="en-US" sz="2400" dirty="0">
                <a:solidFill>
                  <a:srgbClr val="0070AD"/>
                </a:solidFill>
                <a:latin typeface="Verdana (Headings)"/>
              </a:rPr>
              <a:t>Deliverables</a:t>
            </a:r>
          </a:p>
          <a:p>
            <a:pPr lvl="1"/>
            <a:r>
              <a:rPr lang="en-US" sz="1600" dirty="0">
                <a:latin typeface="Verdana (Headings)"/>
              </a:rPr>
              <a:t>Backlog of repair items (security item SLA)</a:t>
            </a:r>
          </a:p>
          <a:p>
            <a:pPr lvl="1"/>
            <a:r>
              <a:rPr lang="en-US" sz="1600" dirty="0">
                <a:latin typeface="Verdana (Headings)"/>
              </a:rPr>
              <a:t>Report “read out” with entire organization as a learning opportunity.</a:t>
            </a:r>
          </a:p>
        </p:txBody>
      </p:sp>
    </p:spTree>
    <p:extLst>
      <p:ext uri="{BB962C8B-B14F-4D97-AF65-F5344CB8AC3E}">
        <p14:creationId xmlns:p14="http://schemas.microsoft.com/office/powerpoint/2010/main" val="408272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Attack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0996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6123D3-94DB-497E-B60E-9D34DA4175E4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195560" cy="2929255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6000" dirty="0">
              <a:solidFill>
                <a:srgbClr val="0070AD"/>
              </a:solidFill>
            </a:endParaRPr>
          </a:p>
          <a:p>
            <a:r>
              <a:rPr lang="en-US" sz="6000" dirty="0">
                <a:solidFill>
                  <a:srgbClr val="0070AD"/>
                </a:solidFill>
              </a:rPr>
              <a:t>“Defenders think in lists. Attackers think in graphs. As long as this is true, attackers win”</a:t>
            </a:r>
            <a:br>
              <a:rPr lang="en-US" sz="6000" dirty="0"/>
            </a:br>
            <a:endParaRPr lang="en-US" sz="6000" dirty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75B32C8-B3CD-4FFD-88C6-70E17742A341}"/>
              </a:ext>
            </a:extLst>
          </p:cNvPr>
          <p:cNvSpPr/>
          <p:nvPr/>
        </p:nvSpPr>
        <p:spPr>
          <a:xfrm>
            <a:off x="8100456" y="4888864"/>
            <a:ext cx="3687228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l-NL" sz="2400" dirty="0">
                <a:solidFill>
                  <a:srgbClr val="12ABDB"/>
                </a:solidFill>
              </a:rPr>
              <a:t>John Lambert (MSTIC)</a:t>
            </a:r>
          </a:p>
        </p:txBody>
      </p:sp>
    </p:spTree>
    <p:extLst>
      <p:ext uri="{BB962C8B-B14F-4D97-AF65-F5344CB8AC3E}">
        <p14:creationId xmlns:p14="http://schemas.microsoft.com/office/powerpoint/2010/main" val="29550538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E0A6E-AC6C-4F4A-BCDE-B44DFCC53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ample: Red Team Attack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6833EE-82FC-4B4D-ABBB-765BA0D48F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724143"/>
          </a:xfrm>
        </p:spPr>
        <p:txBody>
          <a:bodyPr/>
          <a:lstStyle/>
          <a:p>
            <a:r>
              <a:rPr lang="en-AU" dirty="0"/>
              <a:t>What does an unprotected file share look like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B886C8-D825-4581-AE13-141FA6A42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970" y="2011219"/>
            <a:ext cx="8572062" cy="455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75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818B8-8B49-4122-9BFC-322BE99A1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ample: Red Team Attack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CA5880-75AE-468C-ABC0-7761F2F47A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724143"/>
          </a:xfrm>
        </p:spPr>
        <p:txBody>
          <a:bodyPr/>
          <a:lstStyle/>
          <a:p>
            <a:r>
              <a:rPr lang="en-AU" dirty="0"/>
              <a:t>Who is a Local Administrator on your machines?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3F0E0C-6941-4DE6-8F9E-EFD47EEC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3911" y="2117979"/>
            <a:ext cx="6004179" cy="4295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69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3FE16B-23F6-4C59-A69C-3D60AFC431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ample: Red Team Attack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9E77CF-4112-4B4B-A9BD-D78F911E09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0" y="1189495"/>
            <a:ext cx="5490602" cy="3469852"/>
          </a:xfrm>
        </p:spPr>
        <p:txBody>
          <a:bodyPr>
            <a:normAutofit lnSpcReduction="10000"/>
          </a:bodyPr>
          <a:lstStyle/>
          <a:p>
            <a:r>
              <a:rPr lang="en-AU" dirty="0"/>
              <a:t>Introducing </a:t>
            </a:r>
            <a:r>
              <a:rPr lang="en-AU" dirty="0" err="1"/>
              <a:t>Mimikatz</a:t>
            </a:r>
            <a:endParaRPr lang="en-AU" dirty="0"/>
          </a:p>
          <a:p>
            <a:r>
              <a:rPr lang="en-US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Tool written by a French security researcher (external to Microsoft).</a:t>
            </a:r>
          </a:p>
          <a:p>
            <a:endParaRPr lang="en-AU" sz="1961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lt"/>
            </a:endParaRPr>
          </a:p>
          <a:p>
            <a:r>
              <a:rPr lang="en-US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Extracts </a:t>
            </a:r>
            <a:r>
              <a:rPr lang="en-US" sz="1961" b="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passwords</a:t>
            </a:r>
            <a:r>
              <a:rPr lang="en-US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, keys, pin codes, tickets from the memory of </a:t>
            </a:r>
            <a:r>
              <a:rPr lang="en-US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</a:rPr>
              <a:t>lsass.exe</a:t>
            </a:r>
            <a:r>
              <a:rPr lang="en-US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(Local Security Authority Subsystem Service).</a:t>
            </a:r>
          </a:p>
          <a:p>
            <a:endParaRPr lang="en-AU" sz="1961" dirty="0">
              <a:gradFill>
                <a:gsLst>
                  <a:gs pos="125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  <a:latin typeface="+mn-lt"/>
            </a:endParaRPr>
          </a:p>
          <a:p>
            <a:r>
              <a:rPr lang="en-AU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R</a:t>
            </a:r>
            <a:r>
              <a:rPr lang="en-US" sz="1961" dirty="0" err="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equires</a:t>
            </a:r>
            <a:r>
              <a:rPr lang="en-US" sz="196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rPr>
              <a:t> debug privilege or SYSTEM account (aka, Local Administrator acces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5F7AEF-A076-49F3-AE60-0450FE81F0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385589"/>
            <a:ext cx="5490602" cy="518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88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F056A54-5704-495A-9EFE-C10EC99A01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1232" y="3239614"/>
            <a:ext cx="6609212" cy="33830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6D8E9C51-1DBF-4A3C-8DEE-F996F3225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ample: Phishing to get credentials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4D0BDF4-AA82-4E43-8DE2-71832FF17E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3379335"/>
          </a:xfrm>
        </p:spPr>
        <p:txBody>
          <a:bodyPr/>
          <a:lstStyle/>
          <a:p>
            <a:r>
              <a:rPr lang="en-US" dirty="0"/>
              <a:t>524 Recipients</a:t>
            </a:r>
          </a:p>
          <a:p>
            <a:r>
              <a:rPr lang="en-US" dirty="0"/>
              <a:t>103 people opened attachment (19%)</a:t>
            </a:r>
          </a:p>
          <a:p>
            <a:r>
              <a:rPr lang="en-US" dirty="0"/>
              <a:t>10 people reported (2%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493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D8E9C51-1DBF-4A3C-8DEE-F996F3225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Example: Better phishing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4D0BDF4-AA82-4E43-8DE2-71832FF17E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2061897" cy="2051739"/>
          </a:xfrm>
        </p:spPr>
        <p:txBody>
          <a:bodyPr/>
          <a:lstStyle/>
          <a:p>
            <a:r>
              <a:rPr lang="en-US" dirty="0"/>
              <a:t>524 Recipients</a:t>
            </a:r>
          </a:p>
          <a:p>
            <a:r>
              <a:rPr lang="en-US" dirty="0"/>
              <a:t>220 people clicked sign up (42%). 37 clicked both emails</a:t>
            </a:r>
          </a:p>
          <a:p>
            <a:r>
              <a:rPr lang="en-US" dirty="0"/>
              <a:t>11 people reported to IT Security (2%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19C346-0AD1-4E8F-84BC-81F6610210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4569" y="3194172"/>
            <a:ext cx="9271235" cy="3529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4809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spond?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6921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E5EEBC0-D980-4EAB-A5D0-85CBDA42FD42}"/>
              </a:ext>
            </a:extLst>
          </p:cNvPr>
          <p:cNvGrpSpPr/>
          <p:nvPr/>
        </p:nvGrpSpPr>
        <p:grpSpPr>
          <a:xfrm>
            <a:off x="-216683" y="433744"/>
            <a:ext cx="7968867" cy="5971338"/>
            <a:chOff x="-188245" y="525136"/>
            <a:chExt cx="7813324" cy="5854784"/>
          </a:xfrm>
        </p:grpSpPr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8C2D3FC8-4E6A-4875-876B-BE61202B1A45}"/>
                </a:ext>
              </a:extLst>
            </p:cNvPr>
            <p:cNvSpPr/>
            <p:nvPr/>
          </p:nvSpPr>
          <p:spPr>
            <a:xfrm>
              <a:off x="3257430" y="525136"/>
              <a:ext cx="1888221" cy="2170368"/>
            </a:xfrm>
            <a:custGeom>
              <a:avLst/>
              <a:gdLst>
                <a:gd name="connsiteX0" fmla="*/ 0 w 2170367"/>
                <a:gd name="connsiteY0" fmla="*/ 944110 h 1888220"/>
                <a:gd name="connsiteX1" fmla="*/ 472055 w 2170367"/>
                <a:gd name="connsiteY1" fmla="*/ 0 h 1888220"/>
                <a:gd name="connsiteX2" fmla="*/ 1698312 w 2170367"/>
                <a:gd name="connsiteY2" fmla="*/ 0 h 1888220"/>
                <a:gd name="connsiteX3" fmla="*/ 2170367 w 2170367"/>
                <a:gd name="connsiteY3" fmla="*/ 944110 h 1888220"/>
                <a:gd name="connsiteX4" fmla="*/ 1698312 w 2170367"/>
                <a:gd name="connsiteY4" fmla="*/ 1888220 h 1888220"/>
                <a:gd name="connsiteX5" fmla="*/ 472055 w 2170367"/>
                <a:gd name="connsiteY5" fmla="*/ 1888220 h 1888220"/>
                <a:gd name="connsiteX6" fmla="*/ 0 w 2170367"/>
                <a:gd name="connsiteY6" fmla="*/ 944110 h 188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0367" h="1888220">
                  <a:moveTo>
                    <a:pt x="1085184" y="0"/>
                  </a:moveTo>
                  <a:lnTo>
                    <a:pt x="2170366" y="410688"/>
                  </a:lnTo>
                  <a:lnTo>
                    <a:pt x="2170366" y="1477532"/>
                  </a:lnTo>
                  <a:lnTo>
                    <a:pt x="1085184" y="1888220"/>
                  </a:lnTo>
                  <a:lnTo>
                    <a:pt x="1" y="1477532"/>
                  </a:lnTo>
                  <a:lnTo>
                    <a:pt x="1" y="410688"/>
                  </a:lnTo>
                  <a:lnTo>
                    <a:pt x="1085184" y="0"/>
                  </a:lnTo>
                  <a:close/>
                </a:path>
              </a:pathLst>
            </a:custGeom>
            <a:solidFill>
              <a:srgbClr val="12AADA"/>
            </a:solidFill>
            <a:ln>
              <a:solidFill>
                <a:srgbClr val="12AADA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70051" tIns="414895" rIns="370052" bIns="414894" numCol="1" spcCol="1270" anchor="ctr" anchorCtr="0">
              <a:noAutofit/>
            </a:bodyPr>
            <a:lstStyle/>
            <a:p>
              <a:pPr marL="0" marR="0" lvl="0" indent="0" algn="ctr" defTabSz="81602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3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aker</a:t>
              </a: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4CDA70-E1A7-4CFA-960D-08BF02E0CBA1}"/>
                </a:ext>
              </a:extLst>
            </p:cNvPr>
            <p:cNvSpPr/>
            <p:nvPr/>
          </p:nvSpPr>
          <p:spPr>
            <a:xfrm>
              <a:off x="5202949" y="959209"/>
              <a:ext cx="2422130" cy="13022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E48F0535-70D8-4DDF-BE4C-F221BEB12672}"/>
                </a:ext>
              </a:extLst>
            </p:cNvPr>
            <p:cNvSpPr/>
            <p:nvPr/>
          </p:nvSpPr>
          <p:spPr>
            <a:xfrm>
              <a:off x="1218152" y="525136"/>
              <a:ext cx="1888221" cy="2170368"/>
            </a:xfrm>
            <a:custGeom>
              <a:avLst/>
              <a:gdLst>
                <a:gd name="connsiteX0" fmla="*/ 0 w 2170367"/>
                <a:gd name="connsiteY0" fmla="*/ 944110 h 1888220"/>
                <a:gd name="connsiteX1" fmla="*/ 472055 w 2170367"/>
                <a:gd name="connsiteY1" fmla="*/ 0 h 1888220"/>
                <a:gd name="connsiteX2" fmla="*/ 1698312 w 2170367"/>
                <a:gd name="connsiteY2" fmla="*/ 0 h 1888220"/>
                <a:gd name="connsiteX3" fmla="*/ 2170367 w 2170367"/>
                <a:gd name="connsiteY3" fmla="*/ 944110 h 1888220"/>
                <a:gd name="connsiteX4" fmla="*/ 1698312 w 2170367"/>
                <a:gd name="connsiteY4" fmla="*/ 1888220 h 1888220"/>
                <a:gd name="connsiteX5" fmla="*/ 472055 w 2170367"/>
                <a:gd name="connsiteY5" fmla="*/ 1888220 h 1888220"/>
                <a:gd name="connsiteX6" fmla="*/ 0 w 2170367"/>
                <a:gd name="connsiteY6" fmla="*/ 944110 h 188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0367" h="1888220">
                  <a:moveTo>
                    <a:pt x="1085184" y="0"/>
                  </a:moveTo>
                  <a:lnTo>
                    <a:pt x="2170366" y="410688"/>
                  </a:lnTo>
                  <a:lnTo>
                    <a:pt x="2170366" y="1477532"/>
                  </a:lnTo>
                  <a:lnTo>
                    <a:pt x="1085184" y="1888220"/>
                  </a:lnTo>
                  <a:lnTo>
                    <a:pt x="1" y="1477532"/>
                  </a:lnTo>
                  <a:lnTo>
                    <a:pt x="1" y="410688"/>
                  </a:lnTo>
                  <a:lnTo>
                    <a:pt x="1085184" y="0"/>
                  </a:lnTo>
                  <a:close/>
                </a:path>
              </a:pathLst>
            </a:custGeom>
            <a:blipFill rotWithShape="0">
              <a:blip r:embed="rId2"/>
              <a:stretch>
                <a:fillRect/>
              </a:stretch>
            </a:blipFill>
            <a:ln>
              <a:solidFill>
                <a:srgbClr val="12AADA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0106" tIns="344950" rIns="300107" bIns="344949" numCol="1" spcCol="1270" anchor="ctr" anchorCtr="0">
              <a:noAutofit/>
            </a:bodyPr>
            <a:lstStyle/>
            <a:p>
              <a:pPr marL="0" marR="0" lvl="0" indent="0" algn="ctr" defTabSz="81602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A932FB72-CAB9-41A0-A314-4AF22825304F}"/>
                </a:ext>
              </a:extLst>
            </p:cNvPr>
            <p:cNvSpPr/>
            <p:nvPr/>
          </p:nvSpPr>
          <p:spPr>
            <a:xfrm>
              <a:off x="2233884" y="2367344"/>
              <a:ext cx="1888221" cy="2170368"/>
            </a:xfrm>
            <a:custGeom>
              <a:avLst/>
              <a:gdLst>
                <a:gd name="connsiteX0" fmla="*/ 0 w 2170367"/>
                <a:gd name="connsiteY0" fmla="*/ 944110 h 1888220"/>
                <a:gd name="connsiteX1" fmla="*/ 472055 w 2170367"/>
                <a:gd name="connsiteY1" fmla="*/ 0 h 1888220"/>
                <a:gd name="connsiteX2" fmla="*/ 1698312 w 2170367"/>
                <a:gd name="connsiteY2" fmla="*/ 0 h 1888220"/>
                <a:gd name="connsiteX3" fmla="*/ 2170367 w 2170367"/>
                <a:gd name="connsiteY3" fmla="*/ 944110 h 1888220"/>
                <a:gd name="connsiteX4" fmla="*/ 1698312 w 2170367"/>
                <a:gd name="connsiteY4" fmla="*/ 1888220 h 1888220"/>
                <a:gd name="connsiteX5" fmla="*/ 472055 w 2170367"/>
                <a:gd name="connsiteY5" fmla="*/ 1888220 h 1888220"/>
                <a:gd name="connsiteX6" fmla="*/ 0 w 2170367"/>
                <a:gd name="connsiteY6" fmla="*/ 944110 h 188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0367" h="1888220">
                  <a:moveTo>
                    <a:pt x="1085184" y="0"/>
                  </a:moveTo>
                  <a:lnTo>
                    <a:pt x="2170366" y="410688"/>
                  </a:lnTo>
                  <a:lnTo>
                    <a:pt x="2170366" y="1477532"/>
                  </a:lnTo>
                  <a:lnTo>
                    <a:pt x="1085184" y="1888220"/>
                  </a:lnTo>
                  <a:lnTo>
                    <a:pt x="1" y="1477532"/>
                  </a:lnTo>
                  <a:lnTo>
                    <a:pt x="1" y="410688"/>
                  </a:lnTo>
                  <a:lnTo>
                    <a:pt x="1085184" y="0"/>
                  </a:lnTo>
                  <a:close/>
                </a:path>
              </a:pathLst>
            </a:custGeom>
            <a:solidFill>
              <a:srgbClr val="12AADA"/>
            </a:solidFill>
            <a:ln>
              <a:solidFill>
                <a:srgbClr val="12AADA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70051" tIns="414895" rIns="370052" bIns="414894" numCol="1" spcCol="1270" anchor="ctr" anchorCtr="0">
              <a:noAutofit/>
            </a:bodyPr>
            <a:lstStyle/>
            <a:p>
              <a:pPr marL="0" marR="0" lvl="0" indent="0" algn="ctr" defTabSz="81602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ncipal Consultant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78EC2F7-2DD1-48B4-AA0B-72C07A1EDF68}"/>
                </a:ext>
              </a:extLst>
            </p:cNvPr>
            <p:cNvSpPr/>
            <p:nvPr/>
          </p:nvSpPr>
          <p:spPr>
            <a:xfrm>
              <a:off x="-188245" y="2801418"/>
              <a:ext cx="2343997" cy="13022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589A5587-2A3D-4302-B243-35D825A3D1C7}"/>
                </a:ext>
              </a:extLst>
            </p:cNvPr>
            <p:cNvSpPr/>
            <p:nvPr/>
          </p:nvSpPr>
          <p:spPr>
            <a:xfrm>
              <a:off x="163394" y="2345575"/>
              <a:ext cx="1888221" cy="2170368"/>
            </a:xfrm>
            <a:custGeom>
              <a:avLst/>
              <a:gdLst>
                <a:gd name="connsiteX0" fmla="*/ 0 w 2170367"/>
                <a:gd name="connsiteY0" fmla="*/ 944110 h 1888220"/>
                <a:gd name="connsiteX1" fmla="*/ 472055 w 2170367"/>
                <a:gd name="connsiteY1" fmla="*/ 0 h 1888220"/>
                <a:gd name="connsiteX2" fmla="*/ 1698312 w 2170367"/>
                <a:gd name="connsiteY2" fmla="*/ 0 h 1888220"/>
                <a:gd name="connsiteX3" fmla="*/ 2170367 w 2170367"/>
                <a:gd name="connsiteY3" fmla="*/ 944110 h 1888220"/>
                <a:gd name="connsiteX4" fmla="*/ 1698312 w 2170367"/>
                <a:gd name="connsiteY4" fmla="*/ 1888220 h 1888220"/>
                <a:gd name="connsiteX5" fmla="*/ 472055 w 2170367"/>
                <a:gd name="connsiteY5" fmla="*/ 1888220 h 1888220"/>
                <a:gd name="connsiteX6" fmla="*/ 0 w 2170367"/>
                <a:gd name="connsiteY6" fmla="*/ 944110 h 188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0367" h="1888220">
                  <a:moveTo>
                    <a:pt x="1085184" y="0"/>
                  </a:moveTo>
                  <a:lnTo>
                    <a:pt x="2170366" y="410688"/>
                  </a:lnTo>
                  <a:lnTo>
                    <a:pt x="2170366" y="1477532"/>
                  </a:lnTo>
                  <a:lnTo>
                    <a:pt x="1085184" y="1888220"/>
                  </a:lnTo>
                  <a:lnTo>
                    <a:pt x="1" y="1477532"/>
                  </a:lnTo>
                  <a:lnTo>
                    <a:pt x="1" y="410688"/>
                  </a:lnTo>
                  <a:lnTo>
                    <a:pt x="1085184" y="0"/>
                  </a:lnTo>
                  <a:close/>
                </a:path>
              </a:pathLst>
            </a:custGeom>
            <a:solidFill>
              <a:srgbClr val="12AADA"/>
            </a:solidFill>
            <a:ln>
              <a:solidFill>
                <a:srgbClr val="12AADA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0106" tIns="344950" rIns="300107" bIns="344949" numCol="1" spcCol="1270" anchor="ctr" anchorCtr="0">
              <a:noAutofit/>
            </a:bodyPr>
            <a:lstStyle/>
            <a:p>
              <a:pPr marL="0" marR="0" lvl="0" indent="0" algn="ctr" defTabSz="81602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crosoft MVP</a:t>
              </a: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76E932A-DD97-4C09-9E58-F5EAD133DBB0}"/>
                </a:ext>
              </a:extLst>
            </p:cNvPr>
            <p:cNvSpPr/>
            <p:nvPr/>
          </p:nvSpPr>
          <p:spPr>
            <a:xfrm>
              <a:off x="3257430" y="4209552"/>
              <a:ext cx="1888221" cy="2170368"/>
            </a:xfrm>
            <a:custGeom>
              <a:avLst/>
              <a:gdLst>
                <a:gd name="connsiteX0" fmla="*/ 0 w 2170367"/>
                <a:gd name="connsiteY0" fmla="*/ 944110 h 1888220"/>
                <a:gd name="connsiteX1" fmla="*/ 472055 w 2170367"/>
                <a:gd name="connsiteY1" fmla="*/ 0 h 1888220"/>
                <a:gd name="connsiteX2" fmla="*/ 1698312 w 2170367"/>
                <a:gd name="connsiteY2" fmla="*/ 0 h 1888220"/>
                <a:gd name="connsiteX3" fmla="*/ 2170367 w 2170367"/>
                <a:gd name="connsiteY3" fmla="*/ 944110 h 1888220"/>
                <a:gd name="connsiteX4" fmla="*/ 1698312 w 2170367"/>
                <a:gd name="connsiteY4" fmla="*/ 1888220 h 1888220"/>
                <a:gd name="connsiteX5" fmla="*/ 472055 w 2170367"/>
                <a:gd name="connsiteY5" fmla="*/ 1888220 h 1888220"/>
                <a:gd name="connsiteX6" fmla="*/ 0 w 2170367"/>
                <a:gd name="connsiteY6" fmla="*/ 944110 h 188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0367" h="1888220">
                  <a:moveTo>
                    <a:pt x="1085184" y="0"/>
                  </a:moveTo>
                  <a:lnTo>
                    <a:pt x="2170366" y="410688"/>
                  </a:lnTo>
                  <a:lnTo>
                    <a:pt x="2170366" y="1477532"/>
                  </a:lnTo>
                  <a:lnTo>
                    <a:pt x="1085184" y="1888220"/>
                  </a:lnTo>
                  <a:lnTo>
                    <a:pt x="1" y="1477532"/>
                  </a:lnTo>
                  <a:lnTo>
                    <a:pt x="1" y="410688"/>
                  </a:lnTo>
                  <a:lnTo>
                    <a:pt x="1085184" y="0"/>
                  </a:lnTo>
                  <a:close/>
                </a:path>
              </a:pathLst>
            </a:custGeom>
            <a:solidFill>
              <a:srgbClr val="12AADA"/>
            </a:solidFill>
            <a:ln>
              <a:solidFill>
                <a:srgbClr val="12AADA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70051" tIns="414895" rIns="370052" bIns="414894" numCol="1" spcCol="1270" anchor="ctr" anchorCtr="0">
              <a:noAutofit/>
            </a:bodyPr>
            <a:lstStyle/>
            <a:p>
              <a:pPr marL="0" marR="0" lvl="0" indent="0" algn="ctr" defTabSz="81602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lis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7DEE0F7-1142-4B24-B9FC-7354F129F071}"/>
                </a:ext>
              </a:extLst>
            </p:cNvPr>
            <p:cNvSpPr/>
            <p:nvPr/>
          </p:nvSpPr>
          <p:spPr>
            <a:xfrm>
              <a:off x="5202949" y="4643626"/>
              <a:ext cx="2422130" cy="130222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5CE6FCE8-7322-48A1-B8CF-1DAE0BC48601}"/>
                </a:ext>
              </a:extLst>
            </p:cNvPr>
            <p:cNvSpPr/>
            <p:nvPr/>
          </p:nvSpPr>
          <p:spPr>
            <a:xfrm>
              <a:off x="1218152" y="4209552"/>
              <a:ext cx="1888221" cy="2170368"/>
            </a:xfrm>
            <a:custGeom>
              <a:avLst/>
              <a:gdLst>
                <a:gd name="connsiteX0" fmla="*/ 0 w 2170367"/>
                <a:gd name="connsiteY0" fmla="*/ 944110 h 1888220"/>
                <a:gd name="connsiteX1" fmla="*/ 472055 w 2170367"/>
                <a:gd name="connsiteY1" fmla="*/ 0 h 1888220"/>
                <a:gd name="connsiteX2" fmla="*/ 1698312 w 2170367"/>
                <a:gd name="connsiteY2" fmla="*/ 0 h 1888220"/>
                <a:gd name="connsiteX3" fmla="*/ 2170367 w 2170367"/>
                <a:gd name="connsiteY3" fmla="*/ 944110 h 1888220"/>
                <a:gd name="connsiteX4" fmla="*/ 1698312 w 2170367"/>
                <a:gd name="connsiteY4" fmla="*/ 1888220 h 1888220"/>
                <a:gd name="connsiteX5" fmla="*/ 472055 w 2170367"/>
                <a:gd name="connsiteY5" fmla="*/ 1888220 h 1888220"/>
                <a:gd name="connsiteX6" fmla="*/ 0 w 2170367"/>
                <a:gd name="connsiteY6" fmla="*/ 944110 h 188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70367" h="1888220">
                  <a:moveTo>
                    <a:pt x="1085184" y="0"/>
                  </a:moveTo>
                  <a:lnTo>
                    <a:pt x="2170366" y="410688"/>
                  </a:lnTo>
                  <a:lnTo>
                    <a:pt x="2170366" y="1477532"/>
                  </a:lnTo>
                  <a:lnTo>
                    <a:pt x="1085184" y="1888220"/>
                  </a:lnTo>
                  <a:lnTo>
                    <a:pt x="1" y="1477532"/>
                  </a:lnTo>
                  <a:lnTo>
                    <a:pt x="1" y="410688"/>
                  </a:lnTo>
                  <a:lnTo>
                    <a:pt x="1085184" y="0"/>
                  </a:lnTo>
                  <a:close/>
                </a:path>
              </a:pathLst>
            </a:custGeom>
            <a:solidFill>
              <a:srgbClr val="12AADA"/>
            </a:solidFill>
            <a:ln>
              <a:solidFill>
                <a:srgbClr val="12AADA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0106" tIns="344950" rIns="300107" bIns="344949" numCol="1" spcCol="1270" anchor="ctr" anchorCtr="0">
              <a:noAutofit/>
            </a:bodyPr>
            <a:lstStyle/>
            <a:p>
              <a:pPr marL="0" marR="0" lvl="0" indent="0" algn="ctr" defTabSz="81602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36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hor</a:t>
              </a:r>
            </a:p>
          </p:txBody>
        </p:sp>
      </p:grpSp>
      <p:graphicFrame>
        <p:nvGraphicFramePr>
          <p:cNvPr id="14" name="Content Placeholder 3">
            <a:extLst>
              <a:ext uri="{FF2B5EF4-FFF2-40B4-BE49-F238E27FC236}">
                <a16:creationId xmlns:a16="http://schemas.microsoft.com/office/drawing/2014/main" id="{F4FF840B-A1CC-4D71-BCE4-B8D1FBB1BE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2320758"/>
              </p:ext>
            </p:extLst>
          </p:nvPr>
        </p:nvGraphicFramePr>
        <p:xfrm>
          <a:off x="3955830" y="433725"/>
          <a:ext cx="11193462" cy="59753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7" name="Groep 26">
            <a:extLst>
              <a:ext uri="{FF2B5EF4-FFF2-40B4-BE49-F238E27FC236}">
                <a16:creationId xmlns:a16="http://schemas.microsoft.com/office/drawing/2014/main" id="{C7F69569-A0FF-4DE5-BAB8-326AC4962754}"/>
              </a:ext>
            </a:extLst>
          </p:cNvPr>
          <p:cNvGrpSpPr/>
          <p:nvPr/>
        </p:nvGrpSpPr>
        <p:grpSpPr>
          <a:xfrm>
            <a:off x="9098733" y="433769"/>
            <a:ext cx="1925789" cy="2213550"/>
            <a:chOff x="4082661" y="1880900"/>
            <a:chExt cx="1925789" cy="2213550"/>
          </a:xfrm>
        </p:grpSpPr>
        <p:sp>
          <p:nvSpPr>
            <p:cNvPr id="28" name="Zeshoek 27">
              <a:extLst>
                <a:ext uri="{FF2B5EF4-FFF2-40B4-BE49-F238E27FC236}">
                  <a16:creationId xmlns:a16="http://schemas.microsoft.com/office/drawing/2014/main" id="{AA583220-D0A6-4BAE-882C-5C0C6BF117B8}"/>
                </a:ext>
              </a:extLst>
            </p:cNvPr>
            <p:cNvSpPr/>
            <p:nvPr/>
          </p:nvSpPr>
          <p:spPr>
            <a:xfrm rot="5400000">
              <a:off x="3938781" y="2024780"/>
              <a:ext cx="2213550" cy="1925789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rgbClr val="12AADA"/>
            </a:solidFill>
            <a:ln>
              <a:solidFill>
                <a:srgbClr val="12AADA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Zeshoek 4">
              <a:extLst>
                <a:ext uri="{FF2B5EF4-FFF2-40B4-BE49-F238E27FC236}">
                  <a16:creationId xmlns:a16="http://schemas.microsoft.com/office/drawing/2014/main" id="{707DDAF9-2B67-4538-8829-E757204D39CC}"/>
                </a:ext>
              </a:extLst>
            </p:cNvPr>
            <p:cNvSpPr txBox="1"/>
            <p:nvPr/>
          </p:nvSpPr>
          <p:spPr>
            <a:xfrm>
              <a:off x="4382763" y="2225845"/>
              <a:ext cx="1325585" cy="15236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800" kern="1200" dirty="0"/>
                <a:t>Trainer</a:t>
              </a:r>
            </a:p>
          </p:txBody>
        </p:sp>
      </p:grpSp>
      <p:pic>
        <p:nvPicPr>
          <p:cNvPr id="30" name="Afbeelding 29">
            <a:extLst>
              <a:ext uri="{FF2B5EF4-FFF2-40B4-BE49-F238E27FC236}">
                <a16:creationId xmlns:a16="http://schemas.microsoft.com/office/drawing/2014/main" id="{1B3CB27A-F75F-4FE2-A105-AC79DBEEB0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0100" y="2549960"/>
            <a:ext cx="2971800" cy="15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9348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20ABC-C619-4572-BC7F-E0B0F7C28A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0"/>
            <a:ext cx="11655840" cy="899665"/>
          </a:xfrm>
        </p:spPr>
        <p:txBody>
          <a:bodyPr/>
          <a:lstStyle/>
          <a:p>
            <a:br>
              <a:rPr lang="en-US" sz="3000" dirty="0">
                <a:solidFill>
                  <a:srgbClr val="0070AD"/>
                </a:solidFill>
                <a:latin typeface="Verdana (Headings)"/>
              </a:rPr>
            </a:br>
            <a:r>
              <a:rPr lang="en-US" sz="3000" dirty="0">
                <a:solidFill>
                  <a:srgbClr val="0070AD"/>
                </a:solidFill>
                <a:latin typeface="Verdana (Headings)"/>
              </a:rPr>
              <a:t>Threat Modeling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5AAC79-871E-498B-8B9B-AC5EBADEF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2468368"/>
          </a:xfrm>
        </p:spPr>
        <p:txBody>
          <a:bodyPr/>
          <a:lstStyle/>
          <a:p>
            <a:r>
              <a:rPr lang="en-US" sz="2800" dirty="0">
                <a:latin typeface="Verdana (Headings)"/>
              </a:rPr>
              <a:t>A way to identify security issues during design</a:t>
            </a:r>
          </a:p>
          <a:p>
            <a:r>
              <a:rPr lang="en-US" sz="2800" dirty="0">
                <a:latin typeface="Verdana (Headings)"/>
              </a:rPr>
              <a:t>Developers think about how a product works</a:t>
            </a:r>
          </a:p>
          <a:p>
            <a:r>
              <a:rPr lang="en-US" sz="2800" dirty="0">
                <a:latin typeface="Verdana (Headings)"/>
              </a:rPr>
              <a:t>Attackers think about how to abuse a product</a:t>
            </a:r>
          </a:p>
          <a:p>
            <a:r>
              <a:rPr lang="en-US" sz="2800" dirty="0">
                <a:latin typeface="Verdana (Headings)"/>
              </a:rPr>
              <a:t>Shift the mindset</a:t>
            </a:r>
          </a:p>
          <a:p>
            <a:r>
              <a:rPr lang="en-US" sz="2800" dirty="0">
                <a:latin typeface="Verdana (Headings)"/>
              </a:rPr>
              <a:t>Think like an attacker</a:t>
            </a:r>
          </a:p>
        </p:txBody>
      </p:sp>
    </p:spTree>
    <p:extLst>
      <p:ext uri="{BB962C8B-B14F-4D97-AF65-F5344CB8AC3E}">
        <p14:creationId xmlns:p14="http://schemas.microsoft.com/office/powerpoint/2010/main" val="240860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3DA66-C693-4195-9E0C-37127BB98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0"/>
            <a:ext cx="11655840" cy="899665"/>
          </a:xfrm>
        </p:spPr>
        <p:txBody>
          <a:bodyPr/>
          <a:lstStyle/>
          <a:p>
            <a:br>
              <a:rPr lang="en-US" sz="3000" dirty="0">
                <a:solidFill>
                  <a:srgbClr val="0070AD"/>
                </a:solidFill>
                <a:latin typeface="Verdana (Headings)"/>
              </a:rPr>
            </a:br>
            <a:r>
              <a:rPr lang="en-US" sz="3000" dirty="0">
                <a:solidFill>
                  <a:srgbClr val="0070AD"/>
                </a:solidFill>
                <a:latin typeface="Verdana (Headings)"/>
              </a:rPr>
              <a:t>Defense in dep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B0FBB2-7F21-4D87-8D32-ED9674D996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5"/>
            <a:ext cx="11653523" cy="1994392"/>
          </a:xfrm>
        </p:spPr>
        <p:txBody>
          <a:bodyPr/>
          <a:lstStyle/>
          <a:p>
            <a:r>
              <a:rPr lang="en-US" sz="2800" dirty="0">
                <a:latin typeface="Verdana (Headings)"/>
              </a:rPr>
              <a:t>Attackers chain vulnerabilities together</a:t>
            </a:r>
          </a:p>
          <a:p>
            <a:r>
              <a:rPr lang="en-US" sz="2800" dirty="0">
                <a:latin typeface="Verdana (Headings)"/>
              </a:rPr>
              <a:t>Move from one system to another</a:t>
            </a:r>
          </a:p>
          <a:p>
            <a:r>
              <a:rPr lang="en-US" sz="2800" dirty="0">
                <a:latin typeface="Verdana (Headings)"/>
              </a:rPr>
              <a:t>Assume layers before yours will be breached</a:t>
            </a:r>
          </a:p>
          <a:p>
            <a:r>
              <a:rPr lang="en-US" sz="2800" dirty="0">
                <a:latin typeface="Verdana (Headings)"/>
              </a:rPr>
              <a:t>Never assume an internal service is unimportant</a:t>
            </a:r>
          </a:p>
        </p:txBody>
      </p:sp>
    </p:spTree>
    <p:extLst>
      <p:ext uri="{BB962C8B-B14F-4D97-AF65-F5344CB8AC3E}">
        <p14:creationId xmlns:p14="http://schemas.microsoft.com/office/powerpoint/2010/main" val="395572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>
                <a:solidFill>
                  <a:srgbClr val="0070AD"/>
                </a:solidFill>
                <a:latin typeface="Verdana (Headings)"/>
              </a:rPr>
              <a:t>What does a Threat Model include?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021C304A-8361-43B4-B764-BEB75F48CA3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864819"/>
              </p:ext>
            </p:extLst>
          </p:nvPr>
        </p:nvGraphicFramePr>
        <p:xfrm>
          <a:off x="266920" y="1189494"/>
          <a:ext cx="11655840" cy="5378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4364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25654-C897-4A10-9389-886350E34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70AD"/>
                </a:solidFill>
              </a:rPr>
              <a:t>One pipeline to rule them all</a:t>
            </a:r>
            <a:endParaRPr lang="en-US" dirty="0">
              <a:solidFill>
                <a:srgbClr val="0070AD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F2D7EC-82D8-4870-B1B9-4E81D0084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045" y="1728985"/>
            <a:ext cx="4244660" cy="3644231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A7B264C-940C-4423-B9C5-CC77557D3A3C}"/>
              </a:ext>
            </a:extLst>
          </p:cNvPr>
          <p:cNvGrpSpPr/>
          <p:nvPr/>
        </p:nvGrpSpPr>
        <p:grpSpPr>
          <a:xfrm>
            <a:off x="455995" y="5949280"/>
            <a:ext cx="5231815" cy="428400"/>
            <a:chOff x="6475340" y="5934660"/>
            <a:chExt cx="5231815" cy="428400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115CDDC2-D239-45F7-B94A-00FCEEF13235}"/>
                </a:ext>
              </a:extLst>
            </p:cNvPr>
            <p:cNvSpPr txBox="1">
              <a:spLocks/>
            </p:cNvSpPr>
            <p:nvPr/>
          </p:nvSpPr>
          <p:spPr>
            <a:xfrm>
              <a:off x="7057147" y="5996951"/>
              <a:ext cx="4650008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2286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Segoe UI Semilight" panose="020B0402040204020203" pitchFamily="34" charset="0"/>
                  <a:ea typeface="+mn-ea"/>
                  <a:cs typeface="Segoe UI Semilight" panose="020B0402040204020203" pitchFamily="34" charset="0"/>
                </a:defRPr>
              </a:lvl1pPr>
              <a:lvl2pPr marL="457200" marR="0" indent="-22860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657225" marR="0" indent="-20002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6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842963" marR="0" indent="-1809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023938" marR="0" indent="-168275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 typeface="Wingdings" panose="05000000000000000000" pitchFamily="2" charset="2"/>
                <a:buChar char=""/>
                <a:tabLst/>
                <a:defRPr sz="1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  <a:defRPr/>
              </a:pPr>
              <a:r>
                <a:rPr lang="en-US" sz="2000" b="1" dirty="0">
                  <a:solidFill>
                    <a:srgbClr val="0078D4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https://azure.com/devops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E62ED9C-6940-444C-B7F8-8DA0572ACC35}"/>
                </a:ext>
              </a:extLst>
            </p:cNvPr>
            <p:cNvSpPr/>
            <p:nvPr/>
          </p:nvSpPr>
          <p:spPr bwMode="auto">
            <a:xfrm>
              <a:off x="6475340" y="5934660"/>
              <a:ext cx="428402" cy="428400"/>
            </a:xfrm>
            <a:prstGeom prst="ellipse">
              <a:avLst/>
            </a:prstGeom>
            <a:noFill/>
            <a:ln w="28575" cap="flat" cmpd="sng" algn="ctr">
              <a:solidFill>
                <a:srgbClr val="007ACC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193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kern="0">
                  <a:ln w="19050">
                    <a:noFill/>
                  </a:ln>
                  <a:solidFill>
                    <a:srgbClr val="0078D4"/>
                  </a:solidFill>
                  <a:latin typeface="Segoe UI"/>
                  <a:ea typeface="Segoe UI" pitchFamily="34" charset="0"/>
                  <a:cs typeface="Segoe UI" pitchFamily="34" charset="0"/>
                  <a:sym typeface="Wingdings" panose="05000000000000000000" pitchFamily="2" charset="2"/>
                </a:rPr>
                <a:t></a:t>
              </a:r>
              <a:endParaRPr lang="en-US" sz="2000" kern="0">
                <a:ln w="19050">
                  <a:noFill/>
                </a:ln>
                <a:solidFill>
                  <a:srgbClr val="0078D4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3FB50994-E9E0-4E1C-A7AC-8D7F41F17C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2147600"/>
            <a:ext cx="5734429" cy="3225616"/>
          </a:xfrm>
          <a:prstGeom prst="rect">
            <a:avLst/>
          </a:prstGeom>
          <a:ln>
            <a:noFill/>
          </a:ln>
          <a:effectLst>
            <a:outerShdw blurRad="190500" sx="103000" sy="103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2301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Feature Flags">
            <a:extLst>
              <a:ext uri="{FF2B5EF4-FFF2-40B4-BE49-F238E27FC236}">
                <a16:creationId xmlns:a16="http://schemas.microsoft.com/office/drawing/2014/main" id="{CC4DCE00-B19D-47C2-803E-955DD738AA87}"/>
              </a:ext>
            </a:extLst>
          </p:cNvPr>
          <p:cNvGrpSpPr/>
          <p:nvPr/>
        </p:nvGrpSpPr>
        <p:grpSpPr>
          <a:xfrm>
            <a:off x="7579195" y="631057"/>
            <a:ext cx="1352755" cy="2463670"/>
            <a:chOff x="7579404" y="630660"/>
            <a:chExt cx="1352947" cy="2464020"/>
          </a:xfrm>
        </p:grpSpPr>
        <p:sp>
          <p:nvSpPr>
            <p:cNvPr id="6" name="Right Arrow 55">
              <a:extLst>
                <a:ext uri="{FF2B5EF4-FFF2-40B4-BE49-F238E27FC236}">
                  <a16:creationId xmlns:a16="http://schemas.microsoft.com/office/drawing/2014/main" id="{79C9B387-33EB-4E74-B5C8-ABB86E562B2F}"/>
                </a:ext>
              </a:extLst>
            </p:cNvPr>
            <p:cNvSpPr/>
            <p:nvPr/>
          </p:nvSpPr>
          <p:spPr>
            <a:xfrm>
              <a:off x="7642345" y="2073086"/>
              <a:ext cx="1106071" cy="1021594"/>
            </a:xfrm>
            <a:prstGeom prst="rightArrow">
              <a:avLst>
                <a:gd name="adj1" fmla="val 50000"/>
                <a:gd name="adj2" fmla="val 73537"/>
              </a:avLst>
            </a:prstGeom>
            <a:solidFill>
              <a:schemeClr val="accent2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7" name="Picture 2" descr="Feature flag lifecycle management">
              <a:extLst>
                <a:ext uri="{FF2B5EF4-FFF2-40B4-BE49-F238E27FC236}">
                  <a16:creationId xmlns:a16="http://schemas.microsoft.com/office/drawing/2014/main" id="{0D346075-7CE4-41D7-A6B6-F49498F4BD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96137" y="1218115"/>
              <a:ext cx="719482" cy="7194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1">
              <a:extLst>
                <a:ext uri="{FF2B5EF4-FFF2-40B4-BE49-F238E27FC236}">
                  <a16:creationId xmlns:a16="http://schemas.microsoft.com/office/drawing/2014/main" id="{31B0BDCF-06CF-49F8-A97D-8EC97D572E31}"/>
                </a:ext>
              </a:extLst>
            </p:cNvPr>
            <p:cNvSpPr txBox="1"/>
            <p:nvPr/>
          </p:nvSpPr>
          <p:spPr>
            <a:xfrm>
              <a:off x="7579404" y="630660"/>
              <a:ext cx="1352947" cy="707652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algn="ctr" defTabSz="914049">
                <a:defRPr/>
              </a:pPr>
              <a:r>
                <a:rPr lang="en-US" sz="1400" kern="0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Feature Flags</a:t>
              </a:r>
            </a:p>
          </p:txBody>
        </p:sp>
      </p:grpSp>
      <p:grpSp>
        <p:nvGrpSpPr>
          <p:cNvPr id="9" name="Backlog">
            <a:extLst>
              <a:ext uri="{FF2B5EF4-FFF2-40B4-BE49-F238E27FC236}">
                <a16:creationId xmlns:a16="http://schemas.microsoft.com/office/drawing/2014/main" id="{F86B40D5-386B-4C3F-A78B-F9545313BA90}"/>
              </a:ext>
            </a:extLst>
          </p:cNvPr>
          <p:cNvGrpSpPr/>
          <p:nvPr/>
        </p:nvGrpSpPr>
        <p:grpSpPr>
          <a:xfrm>
            <a:off x="1193358" y="3444505"/>
            <a:ext cx="3289413" cy="1702399"/>
            <a:chOff x="1192662" y="3444507"/>
            <a:chExt cx="3289880" cy="1702641"/>
          </a:xfrm>
        </p:grpSpPr>
        <p:sp>
          <p:nvSpPr>
            <p:cNvPr id="10" name="Right Arrow 159">
              <a:extLst>
                <a:ext uri="{FF2B5EF4-FFF2-40B4-BE49-F238E27FC236}">
                  <a16:creationId xmlns:a16="http://schemas.microsoft.com/office/drawing/2014/main" id="{6132A0CE-E966-46A2-AE6B-5ADE18825FFD}"/>
                </a:ext>
              </a:extLst>
            </p:cNvPr>
            <p:cNvSpPr/>
            <p:nvPr/>
          </p:nvSpPr>
          <p:spPr>
            <a:xfrm rot="16200000">
              <a:off x="1520855" y="4154658"/>
              <a:ext cx="1702641" cy="282339"/>
            </a:xfrm>
            <a:prstGeom prst="rightArrow">
              <a:avLst>
                <a:gd name="adj1" fmla="val 50000"/>
                <a:gd name="adj2" fmla="val 73537"/>
              </a:avLst>
            </a:prstGeom>
            <a:solidFill>
              <a:schemeClr val="accent2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00B0F0"/>
                </a:solidFill>
                <a:latin typeface="+mj-lt"/>
              </a:endParaRPr>
            </a:p>
          </p:txBody>
        </p:sp>
        <p:sp>
          <p:nvSpPr>
            <p:cNvPr id="11" name="Rounded Rectangle 48">
              <a:extLst>
                <a:ext uri="{FF2B5EF4-FFF2-40B4-BE49-F238E27FC236}">
                  <a16:creationId xmlns:a16="http://schemas.microsoft.com/office/drawing/2014/main" id="{BDAB3A63-3207-4A4F-BD9A-D000664B1E60}"/>
                </a:ext>
              </a:extLst>
            </p:cNvPr>
            <p:cNvSpPr/>
            <p:nvPr/>
          </p:nvSpPr>
          <p:spPr bwMode="auto">
            <a:xfrm>
              <a:off x="2018350" y="4106144"/>
              <a:ext cx="707653" cy="707653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Rounded Rectangle 49">
              <a:extLst>
                <a:ext uri="{FF2B5EF4-FFF2-40B4-BE49-F238E27FC236}">
                  <a16:creationId xmlns:a16="http://schemas.microsoft.com/office/drawing/2014/main" id="{81761154-F7F8-4C1D-92A9-C30237B268AA}"/>
                </a:ext>
              </a:extLst>
            </p:cNvPr>
            <p:cNvSpPr/>
            <p:nvPr/>
          </p:nvSpPr>
          <p:spPr bwMode="auto">
            <a:xfrm>
              <a:off x="1192662" y="4106144"/>
              <a:ext cx="707653" cy="707653"/>
            </a:xfrm>
            <a:prstGeom prst="round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27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ight Arrow 51">
              <a:extLst>
                <a:ext uri="{FF2B5EF4-FFF2-40B4-BE49-F238E27FC236}">
                  <a16:creationId xmlns:a16="http://schemas.microsoft.com/office/drawing/2014/main" id="{C13CFFC3-EFC3-417A-A248-66A67576D02E}"/>
                </a:ext>
              </a:extLst>
            </p:cNvPr>
            <p:cNvSpPr/>
            <p:nvPr/>
          </p:nvSpPr>
          <p:spPr>
            <a:xfrm rot="16200000">
              <a:off x="695166" y="4154658"/>
              <a:ext cx="1702641" cy="282339"/>
            </a:xfrm>
            <a:prstGeom prst="rightArrow">
              <a:avLst>
                <a:gd name="adj1" fmla="val 50000"/>
                <a:gd name="adj2" fmla="val 73537"/>
              </a:avLst>
            </a:prstGeom>
            <a:solidFill>
              <a:schemeClr val="accent2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00B0F0"/>
                </a:solidFill>
                <a:latin typeface="+mj-lt"/>
              </a:endParaRPr>
            </a:p>
          </p:txBody>
        </p:sp>
        <p:sp>
          <p:nvSpPr>
            <p:cNvPr id="14" name="TextBox 59">
              <a:extLst>
                <a:ext uri="{FF2B5EF4-FFF2-40B4-BE49-F238E27FC236}">
                  <a16:creationId xmlns:a16="http://schemas.microsoft.com/office/drawing/2014/main" id="{123C85C0-1CF4-4AC9-A752-014D91D6E4D5}"/>
                </a:ext>
              </a:extLst>
            </p:cNvPr>
            <p:cNvSpPr txBox="1"/>
            <p:nvPr/>
          </p:nvSpPr>
          <p:spPr>
            <a:xfrm>
              <a:off x="2806380" y="4106144"/>
              <a:ext cx="1676162" cy="707652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algn="ctr" defTabSz="914049">
                <a:defRPr/>
              </a:pPr>
              <a:r>
                <a:rPr lang="en-US" sz="1400" kern="0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Process</a:t>
              </a:r>
            </a:p>
          </p:txBody>
        </p:sp>
        <p:pic>
          <p:nvPicPr>
            <p:cNvPr id="15" name="Picture 65">
              <a:extLst>
                <a:ext uri="{FF2B5EF4-FFF2-40B4-BE49-F238E27FC236}">
                  <a16:creationId xmlns:a16="http://schemas.microsoft.com/office/drawing/2014/main" id="{46608DEF-5A5B-46B3-8722-5B39DC874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0557" y="4154276"/>
              <a:ext cx="553977" cy="579743"/>
            </a:xfrm>
            <a:prstGeom prst="rect">
              <a:avLst/>
            </a:prstGeom>
            <a:solidFill>
              <a:schemeClr val="accent2"/>
            </a:solidFill>
          </p:spPr>
        </p:pic>
        <p:pic>
          <p:nvPicPr>
            <p:cNvPr id="16" name="Picture 75">
              <a:extLst>
                <a:ext uri="{FF2B5EF4-FFF2-40B4-BE49-F238E27FC236}">
                  <a16:creationId xmlns:a16="http://schemas.microsoft.com/office/drawing/2014/main" id="{B97814D7-C16D-4C42-9379-03EE26A00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01149" y="4154276"/>
              <a:ext cx="553977" cy="579743"/>
            </a:xfrm>
            <a:prstGeom prst="rect">
              <a:avLst/>
            </a:prstGeom>
          </p:spPr>
        </p:pic>
      </p:grpSp>
      <p:grpSp>
        <p:nvGrpSpPr>
          <p:cNvPr id="17" name="Monitor and imrprove">
            <a:extLst>
              <a:ext uri="{FF2B5EF4-FFF2-40B4-BE49-F238E27FC236}">
                <a16:creationId xmlns:a16="http://schemas.microsoft.com/office/drawing/2014/main" id="{E9196859-1850-4C94-98A5-9E64F28D2942}"/>
              </a:ext>
            </a:extLst>
          </p:cNvPr>
          <p:cNvGrpSpPr/>
          <p:nvPr/>
        </p:nvGrpSpPr>
        <p:grpSpPr>
          <a:xfrm>
            <a:off x="2962778" y="3259360"/>
            <a:ext cx="6767006" cy="2969054"/>
            <a:chOff x="2962333" y="3259335"/>
            <a:chExt cx="6767966" cy="2969475"/>
          </a:xfrm>
        </p:grpSpPr>
        <p:sp>
          <p:nvSpPr>
            <p:cNvPr id="18" name="Bent Arrow 74">
              <a:extLst>
                <a:ext uri="{FF2B5EF4-FFF2-40B4-BE49-F238E27FC236}">
                  <a16:creationId xmlns:a16="http://schemas.microsoft.com/office/drawing/2014/main" id="{C66D7D11-678D-4C8E-BA65-96D620429EBA}"/>
                </a:ext>
              </a:extLst>
            </p:cNvPr>
            <p:cNvSpPr/>
            <p:nvPr/>
          </p:nvSpPr>
          <p:spPr>
            <a:xfrm rot="10800000">
              <a:off x="2962333" y="3259335"/>
              <a:ext cx="6767966" cy="2356609"/>
            </a:xfrm>
            <a:prstGeom prst="bentArrow">
              <a:avLst>
                <a:gd name="adj1" fmla="val 4873"/>
                <a:gd name="adj2" fmla="val 8600"/>
                <a:gd name="adj3" fmla="val 13322"/>
                <a:gd name="adj4" fmla="val 2947"/>
              </a:avLst>
            </a:prstGeom>
            <a:solidFill>
              <a:schemeClr val="accent2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00B0F0"/>
                </a:solidFill>
                <a:latin typeface="+mj-lt"/>
              </a:endParaRPr>
            </a:p>
          </p:txBody>
        </p:sp>
        <p:sp>
          <p:nvSpPr>
            <p:cNvPr id="19" name="TextBox 63">
              <a:extLst>
                <a:ext uri="{FF2B5EF4-FFF2-40B4-BE49-F238E27FC236}">
                  <a16:creationId xmlns:a16="http://schemas.microsoft.com/office/drawing/2014/main" id="{44C5A678-F6CF-48FC-A194-C1C70A8E47B2}"/>
                </a:ext>
              </a:extLst>
            </p:cNvPr>
            <p:cNvSpPr txBox="1"/>
            <p:nvPr/>
          </p:nvSpPr>
          <p:spPr>
            <a:xfrm>
              <a:off x="3260546" y="5483057"/>
              <a:ext cx="3367833" cy="380946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algn="ctr" defTabSz="914049">
                <a:defRPr/>
              </a:pPr>
              <a:r>
                <a:rPr lang="en-US" sz="1400" kern="0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Monitor and improve</a:t>
              </a:r>
            </a:p>
          </p:txBody>
        </p:sp>
        <p:pic>
          <p:nvPicPr>
            <p:cNvPr id="20" name="Picture 76">
              <a:extLst>
                <a:ext uri="{FF2B5EF4-FFF2-40B4-BE49-F238E27FC236}">
                  <a16:creationId xmlns:a16="http://schemas.microsoft.com/office/drawing/2014/main" id="{828D99C4-22C2-4AC2-9B2A-FD77A4FF1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28379" y="4598916"/>
              <a:ext cx="2231599" cy="1629894"/>
            </a:xfrm>
            <a:prstGeom prst="rect">
              <a:avLst/>
            </a:prstGeom>
          </p:spPr>
        </p:pic>
      </p:grpSp>
      <p:grpSp>
        <p:nvGrpSpPr>
          <p:cNvPr id="21" name="Code">
            <a:extLst>
              <a:ext uri="{FF2B5EF4-FFF2-40B4-BE49-F238E27FC236}">
                <a16:creationId xmlns:a16="http://schemas.microsoft.com/office/drawing/2014/main" id="{89A7C7C5-F1FE-4F6E-A0C8-F1DEAF83B8FD}"/>
              </a:ext>
            </a:extLst>
          </p:cNvPr>
          <p:cNvGrpSpPr/>
          <p:nvPr/>
        </p:nvGrpSpPr>
        <p:grpSpPr>
          <a:xfrm>
            <a:off x="1220574" y="1387673"/>
            <a:ext cx="1599746" cy="2056815"/>
            <a:chOff x="1219882" y="1387383"/>
            <a:chExt cx="1599973" cy="2057106"/>
          </a:xfrm>
        </p:grpSpPr>
        <p:sp>
          <p:nvSpPr>
            <p:cNvPr id="22" name="TextBox 58">
              <a:extLst>
                <a:ext uri="{FF2B5EF4-FFF2-40B4-BE49-F238E27FC236}">
                  <a16:creationId xmlns:a16="http://schemas.microsoft.com/office/drawing/2014/main" id="{01457F8B-7729-45A4-96B4-AE75195D1010}"/>
                </a:ext>
              </a:extLst>
            </p:cNvPr>
            <p:cNvSpPr txBox="1"/>
            <p:nvPr/>
          </p:nvSpPr>
          <p:spPr>
            <a:xfrm>
              <a:off x="1219882" y="1387383"/>
              <a:ext cx="1599973" cy="380946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marL="233273" indent="-233273" algn="ctr" defTabSz="914049">
                <a:defRPr/>
              </a:pPr>
              <a:r>
                <a:rPr lang="en-US" sz="1400" kern="0" spc="-49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Code Repository</a:t>
              </a:r>
            </a:p>
          </p:txBody>
        </p:sp>
        <p:sp>
          <p:nvSpPr>
            <p:cNvPr id="23" name="Rounded Rectangle 64">
              <a:extLst>
                <a:ext uri="{FF2B5EF4-FFF2-40B4-BE49-F238E27FC236}">
                  <a16:creationId xmlns:a16="http://schemas.microsoft.com/office/drawing/2014/main" id="{E0820DA0-4E57-455F-99A5-DA6E2EB8017D}"/>
                </a:ext>
              </a:extLst>
            </p:cNvPr>
            <p:cNvSpPr/>
            <p:nvPr/>
          </p:nvSpPr>
          <p:spPr>
            <a:xfrm>
              <a:off x="1219882" y="1844516"/>
              <a:ext cx="1599973" cy="1599973"/>
            </a:xfrm>
            <a:prstGeom prst="roundRect">
              <a:avLst>
                <a:gd name="adj" fmla="val 5783"/>
              </a:avLst>
            </a:prstGeom>
            <a:solidFill>
              <a:srgbClr val="67297A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24" name="Group 78">
              <a:extLst>
                <a:ext uri="{FF2B5EF4-FFF2-40B4-BE49-F238E27FC236}">
                  <a16:creationId xmlns:a16="http://schemas.microsoft.com/office/drawing/2014/main" id="{79798495-2FF7-47C4-88AB-83C8BD0F20F0}"/>
                </a:ext>
              </a:extLst>
            </p:cNvPr>
            <p:cNvGrpSpPr/>
            <p:nvPr/>
          </p:nvGrpSpPr>
          <p:grpSpPr>
            <a:xfrm>
              <a:off x="1389771" y="2084363"/>
              <a:ext cx="1185178" cy="1128354"/>
              <a:chOff x="1628786" y="2094289"/>
              <a:chExt cx="1185346" cy="1128515"/>
            </a:xfrm>
          </p:grpSpPr>
          <p:pic>
            <p:nvPicPr>
              <p:cNvPr id="25" name="Picture 79">
                <a:extLst>
                  <a:ext uri="{FF2B5EF4-FFF2-40B4-BE49-F238E27FC236}">
                    <a16:creationId xmlns:a16="http://schemas.microsoft.com/office/drawing/2014/main" id="{5F4E5062-37B6-41EF-AC26-E5B32120DE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628786" y="2588363"/>
                <a:ext cx="455690" cy="634441"/>
              </a:xfrm>
              <a:prstGeom prst="rect">
                <a:avLst/>
              </a:prstGeom>
            </p:spPr>
          </p:pic>
          <p:pic>
            <p:nvPicPr>
              <p:cNvPr id="26" name="Picture 80">
                <a:extLst>
                  <a:ext uri="{FF2B5EF4-FFF2-40B4-BE49-F238E27FC236}">
                    <a16:creationId xmlns:a16="http://schemas.microsoft.com/office/drawing/2014/main" id="{F11A9DDC-2793-46AB-B32F-ED882AE501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086926" y="2094289"/>
                <a:ext cx="727206" cy="725111"/>
              </a:xfrm>
              <a:prstGeom prst="rect">
                <a:avLst/>
              </a:prstGeom>
            </p:spPr>
          </p:pic>
        </p:grpSp>
      </p:grpSp>
      <p:grpSp>
        <p:nvGrpSpPr>
          <p:cNvPr id="27" name="Automated Testing">
            <a:extLst>
              <a:ext uri="{FF2B5EF4-FFF2-40B4-BE49-F238E27FC236}">
                <a16:creationId xmlns:a16="http://schemas.microsoft.com/office/drawing/2014/main" id="{94921DA4-94AF-4BEF-95AE-75AA561E89E9}"/>
              </a:ext>
            </a:extLst>
          </p:cNvPr>
          <p:cNvGrpSpPr/>
          <p:nvPr/>
        </p:nvGrpSpPr>
        <p:grpSpPr>
          <a:xfrm>
            <a:off x="5243837" y="1379522"/>
            <a:ext cx="2573662" cy="2064966"/>
            <a:chOff x="5243715" y="1379230"/>
            <a:chExt cx="2574027" cy="2065259"/>
          </a:xfrm>
        </p:grpSpPr>
        <p:sp>
          <p:nvSpPr>
            <p:cNvPr id="28" name="Right Arrow 54">
              <a:extLst>
                <a:ext uri="{FF2B5EF4-FFF2-40B4-BE49-F238E27FC236}">
                  <a16:creationId xmlns:a16="http://schemas.microsoft.com/office/drawing/2014/main" id="{85D3EDE3-04AB-4A37-863D-5D44457EFE69}"/>
                </a:ext>
              </a:extLst>
            </p:cNvPr>
            <p:cNvSpPr/>
            <p:nvPr/>
          </p:nvSpPr>
          <p:spPr>
            <a:xfrm>
              <a:off x="5243715" y="2073086"/>
              <a:ext cx="1775449" cy="1021594"/>
            </a:xfrm>
            <a:prstGeom prst="rightArrow">
              <a:avLst>
                <a:gd name="adj1" fmla="val 50000"/>
                <a:gd name="adj2" fmla="val 73537"/>
              </a:avLst>
            </a:prstGeom>
            <a:solidFill>
              <a:schemeClr val="accent2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29" name="TextBox 61">
              <a:extLst>
                <a:ext uri="{FF2B5EF4-FFF2-40B4-BE49-F238E27FC236}">
                  <a16:creationId xmlns:a16="http://schemas.microsoft.com/office/drawing/2014/main" id="{F3107808-D957-4253-A053-95A7241ACA77}"/>
                </a:ext>
              </a:extLst>
            </p:cNvPr>
            <p:cNvSpPr txBox="1"/>
            <p:nvPr/>
          </p:nvSpPr>
          <p:spPr>
            <a:xfrm>
              <a:off x="5752666" y="1379230"/>
              <a:ext cx="2065076" cy="380946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marL="233273" indent="-233273" algn="ctr" defTabSz="914049">
                <a:defRPr/>
              </a:pPr>
              <a:r>
                <a:rPr lang="en-US" sz="1400" kern="0" spc="-49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Testing</a:t>
              </a:r>
            </a:p>
          </p:txBody>
        </p:sp>
        <p:sp>
          <p:nvSpPr>
            <p:cNvPr id="30" name="Rounded Rectangle 67">
              <a:extLst>
                <a:ext uri="{FF2B5EF4-FFF2-40B4-BE49-F238E27FC236}">
                  <a16:creationId xmlns:a16="http://schemas.microsoft.com/office/drawing/2014/main" id="{B3225DE1-C0A1-4C8F-B4D2-B15CB250EAF3}"/>
                </a:ext>
              </a:extLst>
            </p:cNvPr>
            <p:cNvSpPr/>
            <p:nvPr/>
          </p:nvSpPr>
          <p:spPr>
            <a:xfrm>
              <a:off x="6086305" y="1844516"/>
              <a:ext cx="1599973" cy="1599973"/>
            </a:xfrm>
            <a:prstGeom prst="roundRect">
              <a:avLst>
                <a:gd name="adj" fmla="val 5783"/>
              </a:avLst>
            </a:prstGeom>
            <a:solidFill>
              <a:srgbClr val="67297A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1" name="Picture 118">
              <a:extLst>
                <a:ext uri="{FF2B5EF4-FFF2-40B4-BE49-F238E27FC236}">
                  <a16:creationId xmlns:a16="http://schemas.microsoft.com/office/drawing/2014/main" id="{DCD4319A-08B1-40F9-A7A8-7860AE619A3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82291" y="2153066"/>
              <a:ext cx="984814" cy="982873"/>
            </a:xfrm>
            <a:prstGeom prst="rect">
              <a:avLst/>
            </a:prstGeom>
          </p:spPr>
        </p:pic>
      </p:grpSp>
      <p:grpSp>
        <p:nvGrpSpPr>
          <p:cNvPr id="32" name="Build + Deploy">
            <a:extLst>
              <a:ext uri="{FF2B5EF4-FFF2-40B4-BE49-F238E27FC236}">
                <a16:creationId xmlns:a16="http://schemas.microsoft.com/office/drawing/2014/main" id="{4BF9037C-A26A-46A0-8C8D-130FB75E1964}"/>
              </a:ext>
            </a:extLst>
          </p:cNvPr>
          <p:cNvGrpSpPr/>
          <p:nvPr/>
        </p:nvGrpSpPr>
        <p:grpSpPr>
          <a:xfrm>
            <a:off x="2831829" y="1387673"/>
            <a:ext cx="3114791" cy="2349647"/>
            <a:chOff x="2831365" y="1387383"/>
            <a:chExt cx="3115233" cy="2349980"/>
          </a:xfrm>
        </p:grpSpPr>
        <p:sp>
          <p:nvSpPr>
            <p:cNvPr id="33" name="Right Arrow 53">
              <a:extLst>
                <a:ext uri="{FF2B5EF4-FFF2-40B4-BE49-F238E27FC236}">
                  <a16:creationId xmlns:a16="http://schemas.microsoft.com/office/drawing/2014/main" id="{370A21CE-0FF7-49F3-BDF0-D5B6B7EBF560}"/>
                </a:ext>
              </a:extLst>
            </p:cNvPr>
            <p:cNvSpPr/>
            <p:nvPr/>
          </p:nvSpPr>
          <p:spPr>
            <a:xfrm>
              <a:off x="2831365" y="2073086"/>
              <a:ext cx="1737882" cy="1021594"/>
            </a:xfrm>
            <a:prstGeom prst="rightArrow">
              <a:avLst>
                <a:gd name="adj1" fmla="val 50000"/>
                <a:gd name="adj2" fmla="val 73537"/>
              </a:avLst>
            </a:prstGeom>
            <a:solidFill>
              <a:schemeClr val="accent2"/>
            </a:solidFill>
            <a:ln w="1079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34" name="TextBox 60">
              <a:extLst>
                <a:ext uri="{FF2B5EF4-FFF2-40B4-BE49-F238E27FC236}">
                  <a16:creationId xmlns:a16="http://schemas.microsoft.com/office/drawing/2014/main" id="{381E79AC-7B55-450B-A393-29F9BEF3BC71}"/>
                </a:ext>
              </a:extLst>
            </p:cNvPr>
            <p:cNvSpPr txBox="1"/>
            <p:nvPr/>
          </p:nvSpPr>
          <p:spPr>
            <a:xfrm>
              <a:off x="3643117" y="1387383"/>
              <a:ext cx="1599973" cy="380946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marL="233273" indent="-233273" algn="ctr" defTabSz="914049">
                <a:defRPr/>
              </a:pPr>
              <a:r>
                <a:rPr lang="en-US" sz="1400" kern="0" spc="-49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Build + Deploy</a:t>
              </a:r>
            </a:p>
          </p:txBody>
        </p:sp>
        <p:sp>
          <p:nvSpPr>
            <p:cNvPr id="35" name="Rounded Rectangle 66">
              <a:extLst>
                <a:ext uri="{FF2B5EF4-FFF2-40B4-BE49-F238E27FC236}">
                  <a16:creationId xmlns:a16="http://schemas.microsoft.com/office/drawing/2014/main" id="{5D9EE8EF-6F4B-4BFC-B7BC-BB558094B2B0}"/>
                </a:ext>
              </a:extLst>
            </p:cNvPr>
            <p:cNvSpPr/>
            <p:nvPr/>
          </p:nvSpPr>
          <p:spPr>
            <a:xfrm>
              <a:off x="3643117" y="1844516"/>
              <a:ext cx="1599973" cy="1599973"/>
            </a:xfrm>
            <a:prstGeom prst="roundRect">
              <a:avLst>
                <a:gd name="adj" fmla="val 5783"/>
              </a:avLst>
            </a:prstGeom>
            <a:solidFill>
              <a:srgbClr val="67297A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36" name="Picture 81">
              <a:extLst>
                <a:ext uri="{FF2B5EF4-FFF2-40B4-BE49-F238E27FC236}">
                  <a16:creationId xmlns:a16="http://schemas.microsoft.com/office/drawing/2014/main" id="{6E0E8F2D-2B89-4432-A35B-9D3F6F4D9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33292" y="2073084"/>
              <a:ext cx="1219027" cy="1021691"/>
            </a:xfrm>
            <a:prstGeom prst="rect">
              <a:avLst/>
            </a:prstGeom>
          </p:spPr>
        </p:pic>
        <p:grpSp>
          <p:nvGrpSpPr>
            <p:cNvPr id="37" name="Group 120">
              <a:extLst>
                <a:ext uri="{FF2B5EF4-FFF2-40B4-BE49-F238E27FC236}">
                  <a16:creationId xmlns:a16="http://schemas.microsoft.com/office/drawing/2014/main" id="{D7BD1FDC-0ADE-4A39-B374-99444254C033}"/>
                </a:ext>
              </a:extLst>
            </p:cNvPr>
            <p:cNvGrpSpPr/>
            <p:nvPr/>
          </p:nvGrpSpPr>
          <p:grpSpPr>
            <a:xfrm>
              <a:off x="4293679" y="3055491"/>
              <a:ext cx="1652919" cy="681872"/>
              <a:chOff x="4633536" y="3025775"/>
              <a:chExt cx="1686302" cy="695644"/>
            </a:xfrm>
          </p:grpSpPr>
          <p:sp>
            <p:nvSpPr>
              <p:cNvPr id="38" name="AutoShape 30">
                <a:extLst>
                  <a:ext uri="{FF2B5EF4-FFF2-40B4-BE49-F238E27FC236}">
                    <a16:creationId xmlns:a16="http://schemas.microsoft.com/office/drawing/2014/main" id="{80F6040F-F330-4CF0-BF60-F709FB89346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151438" y="3025775"/>
                <a:ext cx="1168400" cy="5603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39" name="Rectangle 39">
                <a:extLst>
                  <a:ext uri="{FF2B5EF4-FFF2-40B4-BE49-F238E27FC236}">
                    <a16:creationId xmlns:a16="http://schemas.microsoft.com/office/drawing/2014/main" id="{E6CBC011-BC97-4F0A-B521-11B52938D9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89563" y="3027363"/>
                <a:ext cx="754063" cy="512763"/>
              </a:xfrm>
              <a:prstGeom prst="rect">
                <a:avLst/>
              </a:prstGeom>
              <a:solidFill>
                <a:srgbClr val="9F9F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0" name="Oval 40">
                <a:extLst>
                  <a:ext uri="{FF2B5EF4-FFF2-40B4-BE49-F238E27FC236}">
                    <a16:creationId xmlns:a16="http://schemas.microsoft.com/office/drawing/2014/main" id="{5123834D-7FDC-4A74-A273-5C85F83756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9451" y="3038475"/>
                <a:ext cx="12700" cy="127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1" name="Rectangle 41">
                <a:extLst>
                  <a:ext uri="{FF2B5EF4-FFF2-40B4-BE49-F238E27FC236}">
                    <a16:creationId xmlns:a16="http://schemas.microsoft.com/office/drawing/2014/main" id="{307FAE01-362F-4FDD-B7B8-FE0C9F1449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4963" y="3067050"/>
                <a:ext cx="703263" cy="450850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54505EE0-F114-4DB5-B3BF-4038DD79C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2088" y="3548063"/>
                <a:ext cx="973138" cy="39688"/>
              </a:xfrm>
              <a:custGeom>
                <a:avLst/>
                <a:gdLst>
                  <a:gd name="T0" fmla="*/ 0 w 449"/>
                  <a:gd name="T1" fmla="*/ 0 h 18"/>
                  <a:gd name="T2" fmla="*/ 0 w 449"/>
                  <a:gd name="T3" fmla="*/ 1 h 18"/>
                  <a:gd name="T4" fmla="*/ 17 w 449"/>
                  <a:gd name="T5" fmla="*/ 18 h 18"/>
                  <a:gd name="T6" fmla="*/ 433 w 449"/>
                  <a:gd name="T7" fmla="*/ 18 h 18"/>
                  <a:gd name="T8" fmla="*/ 449 w 449"/>
                  <a:gd name="T9" fmla="*/ 1 h 18"/>
                  <a:gd name="T10" fmla="*/ 449 w 449"/>
                  <a:gd name="T11" fmla="*/ 0 h 18"/>
                  <a:gd name="T12" fmla="*/ 0 w 449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9" h="1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0"/>
                      <a:pt x="8" y="18"/>
                      <a:pt x="17" y="18"/>
                    </a:cubicBezTo>
                    <a:cubicBezTo>
                      <a:pt x="433" y="18"/>
                      <a:pt x="433" y="18"/>
                      <a:pt x="433" y="18"/>
                    </a:cubicBezTo>
                    <a:cubicBezTo>
                      <a:pt x="442" y="18"/>
                      <a:pt x="449" y="10"/>
                      <a:pt x="449" y="1"/>
                    </a:cubicBezTo>
                    <a:cubicBezTo>
                      <a:pt x="449" y="0"/>
                      <a:pt x="449" y="0"/>
                      <a:pt x="44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E7E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3" name="Freeform 47">
                <a:extLst>
                  <a:ext uri="{FF2B5EF4-FFF2-40B4-BE49-F238E27FC236}">
                    <a16:creationId xmlns:a16="http://schemas.microsoft.com/office/drawing/2014/main" id="{9C2CBE4D-0746-41D4-9DFB-614679CF8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626" y="3194050"/>
                <a:ext cx="254000" cy="228600"/>
              </a:xfrm>
              <a:custGeom>
                <a:avLst/>
                <a:gdLst>
                  <a:gd name="T0" fmla="*/ 99 w 117"/>
                  <a:gd name="T1" fmla="*/ 40 h 105"/>
                  <a:gd name="T2" fmla="*/ 114 w 117"/>
                  <a:gd name="T3" fmla="*/ 14 h 105"/>
                  <a:gd name="T4" fmla="*/ 89 w 117"/>
                  <a:gd name="T5" fmla="*/ 1 h 105"/>
                  <a:gd name="T6" fmla="*/ 63 w 117"/>
                  <a:gd name="T7" fmla="*/ 7 h 105"/>
                  <a:gd name="T8" fmla="*/ 40 w 117"/>
                  <a:gd name="T9" fmla="*/ 1 h 105"/>
                  <a:gd name="T10" fmla="*/ 12 w 117"/>
                  <a:gd name="T11" fmla="*/ 18 h 105"/>
                  <a:gd name="T12" fmla="*/ 20 w 117"/>
                  <a:gd name="T13" fmla="*/ 87 h 105"/>
                  <a:gd name="T14" fmla="*/ 42 w 117"/>
                  <a:gd name="T15" fmla="*/ 105 h 105"/>
                  <a:gd name="T16" fmla="*/ 64 w 117"/>
                  <a:gd name="T17" fmla="*/ 99 h 105"/>
                  <a:gd name="T18" fmla="*/ 87 w 117"/>
                  <a:gd name="T19" fmla="*/ 104 h 105"/>
                  <a:gd name="T20" fmla="*/ 108 w 117"/>
                  <a:gd name="T21" fmla="*/ 88 h 105"/>
                  <a:gd name="T22" fmla="*/ 117 w 117"/>
                  <a:gd name="T23" fmla="*/ 68 h 105"/>
                  <a:gd name="T24" fmla="*/ 99 w 117"/>
                  <a:gd name="T25" fmla="*/ 4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05">
                    <a:moveTo>
                      <a:pt x="99" y="40"/>
                    </a:moveTo>
                    <a:cubicBezTo>
                      <a:pt x="99" y="23"/>
                      <a:pt x="113" y="15"/>
                      <a:pt x="114" y="14"/>
                    </a:cubicBezTo>
                    <a:cubicBezTo>
                      <a:pt x="106" y="3"/>
                      <a:pt x="93" y="1"/>
                      <a:pt x="89" y="1"/>
                    </a:cubicBezTo>
                    <a:cubicBezTo>
                      <a:pt x="78" y="0"/>
                      <a:pt x="68" y="7"/>
                      <a:pt x="63" y="7"/>
                    </a:cubicBezTo>
                    <a:cubicBezTo>
                      <a:pt x="57" y="7"/>
                      <a:pt x="49" y="1"/>
                      <a:pt x="40" y="1"/>
                    </a:cubicBezTo>
                    <a:cubicBezTo>
                      <a:pt x="28" y="1"/>
                      <a:pt x="18" y="8"/>
                      <a:pt x="12" y="18"/>
                    </a:cubicBezTo>
                    <a:cubicBezTo>
                      <a:pt x="0" y="39"/>
                      <a:pt x="9" y="70"/>
                      <a:pt x="20" y="87"/>
                    </a:cubicBezTo>
                    <a:cubicBezTo>
                      <a:pt x="26" y="96"/>
                      <a:pt x="33" y="105"/>
                      <a:pt x="42" y="105"/>
                    </a:cubicBezTo>
                    <a:cubicBezTo>
                      <a:pt x="51" y="104"/>
                      <a:pt x="54" y="99"/>
                      <a:pt x="64" y="99"/>
                    </a:cubicBezTo>
                    <a:cubicBezTo>
                      <a:pt x="75" y="99"/>
                      <a:pt x="78" y="105"/>
                      <a:pt x="87" y="104"/>
                    </a:cubicBezTo>
                    <a:cubicBezTo>
                      <a:pt x="96" y="104"/>
                      <a:pt x="102" y="96"/>
                      <a:pt x="108" y="88"/>
                    </a:cubicBezTo>
                    <a:cubicBezTo>
                      <a:pt x="115" y="78"/>
                      <a:pt x="117" y="69"/>
                      <a:pt x="117" y="68"/>
                    </a:cubicBezTo>
                    <a:cubicBezTo>
                      <a:pt x="117" y="68"/>
                      <a:pt x="99" y="61"/>
                      <a:pt x="99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44" name="Freeform 48">
                <a:extLst>
                  <a:ext uri="{FF2B5EF4-FFF2-40B4-BE49-F238E27FC236}">
                    <a16:creationId xmlns:a16="http://schemas.microsoft.com/office/drawing/2014/main" id="{A4727765-D98C-49AB-AE72-CD4BD0922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8976" y="3125788"/>
                <a:ext cx="61913" cy="68263"/>
              </a:xfrm>
              <a:custGeom>
                <a:avLst/>
                <a:gdLst>
                  <a:gd name="T0" fmla="*/ 21 w 29"/>
                  <a:gd name="T1" fmla="*/ 22 h 32"/>
                  <a:gd name="T2" fmla="*/ 28 w 29"/>
                  <a:gd name="T3" fmla="*/ 0 h 32"/>
                  <a:gd name="T4" fmla="*/ 8 w 29"/>
                  <a:gd name="T5" fmla="*/ 10 h 32"/>
                  <a:gd name="T6" fmla="*/ 1 w 29"/>
                  <a:gd name="T7" fmla="*/ 31 h 32"/>
                  <a:gd name="T8" fmla="*/ 21 w 29"/>
                  <a:gd name="T9" fmla="*/ 2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32">
                    <a:moveTo>
                      <a:pt x="21" y="22"/>
                    </a:moveTo>
                    <a:cubicBezTo>
                      <a:pt x="26" y="16"/>
                      <a:pt x="29" y="8"/>
                      <a:pt x="28" y="0"/>
                    </a:cubicBezTo>
                    <a:cubicBezTo>
                      <a:pt x="21" y="0"/>
                      <a:pt x="13" y="4"/>
                      <a:pt x="8" y="10"/>
                    </a:cubicBezTo>
                    <a:cubicBezTo>
                      <a:pt x="3" y="15"/>
                      <a:pt x="0" y="23"/>
                      <a:pt x="1" y="31"/>
                    </a:cubicBezTo>
                    <a:cubicBezTo>
                      <a:pt x="8" y="32"/>
                      <a:pt x="16" y="27"/>
                      <a:pt x="21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grpSp>
            <p:nvGrpSpPr>
              <p:cNvPr id="45" name="Group 128">
                <a:extLst>
                  <a:ext uri="{FF2B5EF4-FFF2-40B4-BE49-F238E27FC236}">
                    <a16:creationId xmlns:a16="http://schemas.microsoft.com/office/drawing/2014/main" id="{8632F58B-8AE6-4E7A-81FA-1413EFFF6602}"/>
                  </a:ext>
                </a:extLst>
              </p:cNvPr>
              <p:cNvGrpSpPr/>
              <p:nvPr/>
            </p:nvGrpSpPr>
            <p:grpSpPr>
              <a:xfrm>
                <a:off x="4633536" y="3161031"/>
                <a:ext cx="974725" cy="560388"/>
                <a:chOff x="4084638" y="3027363"/>
                <a:chExt cx="974725" cy="560388"/>
              </a:xfrm>
            </p:grpSpPr>
            <p:sp>
              <p:nvSpPr>
                <p:cNvPr id="46" name="Rectangle 43">
                  <a:extLst>
                    <a:ext uri="{FF2B5EF4-FFF2-40B4-BE49-F238E27FC236}">
                      <a16:creationId xmlns:a16="http://schemas.microsoft.com/office/drawing/2014/main" id="{41B6FB4E-AE67-4202-BEB4-113B4840EA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00526" y="3027363"/>
                  <a:ext cx="754063" cy="512763"/>
                </a:xfrm>
                <a:prstGeom prst="rect">
                  <a:avLst/>
                </a:prstGeom>
                <a:solidFill>
                  <a:srgbClr val="9F9F9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47" name="Oval 44">
                  <a:extLst>
                    <a:ext uri="{FF2B5EF4-FFF2-40B4-BE49-F238E27FC236}">
                      <a16:creationId xmlns:a16="http://schemas.microsoft.com/office/drawing/2014/main" id="{A18F65C4-F5A0-4753-88E1-53CBE453EE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0413" y="3038475"/>
                  <a:ext cx="12700" cy="1270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48" name="Rectangle 45">
                  <a:extLst>
                    <a:ext uri="{FF2B5EF4-FFF2-40B4-BE49-F238E27FC236}">
                      <a16:creationId xmlns:a16="http://schemas.microsoft.com/office/drawing/2014/main" id="{B9292203-DB61-4603-8EBC-3F2985B7F0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25926" y="3067050"/>
                  <a:ext cx="704850" cy="450850"/>
                </a:xfrm>
                <a:prstGeom prst="rect">
                  <a:avLst/>
                </a:prstGeom>
                <a:solidFill>
                  <a:schemeClr val="bg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49" name="Freeform 46">
                  <a:extLst>
                    <a:ext uri="{FF2B5EF4-FFF2-40B4-BE49-F238E27FC236}">
                      <a16:creationId xmlns:a16="http://schemas.microsoft.com/office/drawing/2014/main" id="{28006BA8-EEDC-4978-A78F-1C93262C55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4638" y="3548063"/>
                  <a:ext cx="974725" cy="39688"/>
                </a:xfrm>
                <a:custGeom>
                  <a:avLst/>
                  <a:gdLst>
                    <a:gd name="T0" fmla="*/ 0 w 449"/>
                    <a:gd name="T1" fmla="*/ 0 h 18"/>
                    <a:gd name="T2" fmla="*/ 0 w 449"/>
                    <a:gd name="T3" fmla="*/ 1 h 18"/>
                    <a:gd name="T4" fmla="*/ 16 w 449"/>
                    <a:gd name="T5" fmla="*/ 18 h 18"/>
                    <a:gd name="T6" fmla="*/ 432 w 449"/>
                    <a:gd name="T7" fmla="*/ 18 h 18"/>
                    <a:gd name="T8" fmla="*/ 449 w 449"/>
                    <a:gd name="T9" fmla="*/ 1 h 18"/>
                    <a:gd name="T10" fmla="*/ 449 w 449"/>
                    <a:gd name="T11" fmla="*/ 0 h 18"/>
                    <a:gd name="T12" fmla="*/ 0 w 449"/>
                    <a:gd name="T13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49" h="18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0"/>
                        <a:pt x="7" y="18"/>
                        <a:pt x="16" y="18"/>
                      </a:cubicBezTo>
                      <a:cubicBezTo>
                        <a:pt x="432" y="18"/>
                        <a:pt x="432" y="18"/>
                        <a:pt x="432" y="18"/>
                      </a:cubicBezTo>
                      <a:cubicBezTo>
                        <a:pt x="441" y="18"/>
                        <a:pt x="449" y="10"/>
                        <a:pt x="449" y="1"/>
                      </a:cubicBezTo>
                      <a:cubicBezTo>
                        <a:pt x="449" y="0"/>
                        <a:pt x="449" y="0"/>
                        <a:pt x="44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E7E7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50" name="Freeform 49">
                  <a:extLst>
                    <a:ext uri="{FF2B5EF4-FFF2-40B4-BE49-F238E27FC236}">
                      <a16:creationId xmlns:a16="http://schemas.microsoft.com/office/drawing/2014/main" id="{D402444B-9C43-4AC8-A799-753A28F72A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6126" y="3155950"/>
                  <a:ext cx="144463" cy="127000"/>
                </a:xfrm>
                <a:custGeom>
                  <a:avLst/>
                  <a:gdLst>
                    <a:gd name="T0" fmla="*/ 0 w 91"/>
                    <a:gd name="T1" fmla="*/ 80 h 80"/>
                    <a:gd name="T2" fmla="*/ 91 w 91"/>
                    <a:gd name="T3" fmla="*/ 80 h 80"/>
                    <a:gd name="T4" fmla="*/ 91 w 91"/>
                    <a:gd name="T5" fmla="*/ 0 h 80"/>
                    <a:gd name="T6" fmla="*/ 0 w 91"/>
                    <a:gd name="T7" fmla="*/ 14 h 80"/>
                    <a:gd name="T8" fmla="*/ 0 w 91"/>
                    <a:gd name="T9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1" h="80">
                      <a:moveTo>
                        <a:pt x="0" y="80"/>
                      </a:moveTo>
                      <a:lnTo>
                        <a:pt x="91" y="80"/>
                      </a:lnTo>
                      <a:lnTo>
                        <a:pt x="91" y="0"/>
                      </a:lnTo>
                      <a:lnTo>
                        <a:pt x="0" y="14"/>
                      </a:lnTo>
                      <a:lnTo>
                        <a:pt x="0" y="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8F616A17-F406-4C2A-87C1-5FB20617F0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0238" y="3178175"/>
                  <a:ext cx="111125" cy="104775"/>
                </a:xfrm>
                <a:custGeom>
                  <a:avLst/>
                  <a:gdLst>
                    <a:gd name="T0" fmla="*/ 70 w 70"/>
                    <a:gd name="T1" fmla="*/ 66 h 66"/>
                    <a:gd name="T2" fmla="*/ 70 w 70"/>
                    <a:gd name="T3" fmla="*/ 0 h 66"/>
                    <a:gd name="T4" fmla="*/ 0 w 70"/>
                    <a:gd name="T5" fmla="*/ 9 h 66"/>
                    <a:gd name="T6" fmla="*/ 0 w 70"/>
                    <a:gd name="T7" fmla="*/ 66 h 66"/>
                    <a:gd name="T8" fmla="*/ 70 w 70"/>
                    <a:gd name="T9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66">
                      <a:moveTo>
                        <a:pt x="70" y="66"/>
                      </a:moveTo>
                      <a:lnTo>
                        <a:pt x="70" y="0"/>
                      </a:lnTo>
                      <a:lnTo>
                        <a:pt x="0" y="9"/>
                      </a:lnTo>
                      <a:lnTo>
                        <a:pt x="0" y="66"/>
                      </a:lnTo>
                      <a:lnTo>
                        <a:pt x="70" y="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52" name="Freeform 51">
                  <a:extLst>
                    <a:ext uri="{FF2B5EF4-FFF2-40B4-BE49-F238E27FC236}">
                      <a16:creationId xmlns:a16="http://schemas.microsoft.com/office/drawing/2014/main" id="{FE8A77D4-1571-496F-AD23-9C8A057CBF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0238" y="3287713"/>
                  <a:ext cx="111125" cy="107950"/>
                </a:xfrm>
                <a:custGeom>
                  <a:avLst/>
                  <a:gdLst>
                    <a:gd name="T0" fmla="*/ 70 w 70"/>
                    <a:gd name="T1" fmla="*/ 0 h 68"/>
                    <a:gd name="T2" fmla="*/ 0 w 70"/>
                    <a:gd name="T3" fmla="*/ 0 h 68"/>
                    <a:gd name="T4" fmla="*/ 0 w 70"/>
                    <a:gd name="T5" fmla="*/ 59 h 68"/>
                    <a:gd name="T6" fmla="*/ 70 w 70"/>
                    <a:gd name="T7" fmla="*/ 68 h 68"/>
                    <a:gd name="T8" fmla="*/ 70 w 70"/>
                    <a:gd name="T9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0" h="68">
                      <a:moveTo>
                        <a:pt x="70" y="0"/>
                      </a:moveTo>
                      <a:lnTo>
                        <a:pt x="0" y="0"/>
                      </a:lnTo>
                      <a:lnTo>
                        <a:pt x="0" y="59"/>
                      </a:lnTo>
                      <a:lnTo>
                        <a:pt x="70" y="68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53" name="Freeform 52">
                  <a:extLst>
                    <a:ext uri="{FF2B5EF4-FFF2-40B4-BE49-F238E27FC236}">
                      <a16:creationId xmlns:a16="http://schemas.microsoft.com/office/drawing/2014/main" id="{2FE69B32-5250-46C3-A395-C19554B25B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6126" y="3287713"/>
                  <a:ext cx="144463" cy="130175"/>
                </a:xfrm>
                <a:custGeom>
                  <a:avLst/>
                  <a:gdLst>
                    <a:gd name="T0" fmla="*/ 0 w 91"/>
                    <a:gd name="T1" fmla="*/ 0 h 82"/>
                    <a:gd name="T2" fmla="*/ 0 w 91"/>
                    <a:gd name="T3" fmla="*/ 68 h 82"/>
                    <a:gd name="T4" fmla="*/ 91 w 91"/>
                    <a:gd name="T5" fmla="*/ 82 h 82"/>
                    <a:gd name="T6" fmla="*/ 91 w 91"/>
                    <a:gd name="T7" fmla="*/ 0 h 82"/>
                    <a:gd name="T8" fmla="*/ 0 w 91"/>
                    <a:gd name="T9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1" h="82">
                      <a:moveTo>
                        <a:pt x="0" y="0"/>
                      </a:moveTo>
                      <a:lnTo>
                        <a:pt x="0" y="68"/>
                      </a:lnTo>
                      <a:lnTo>
                        <a:pt x="91" y="82"/>
                      </a:lnTo>
                      <a:lnTo>
                        <a:pt x="9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617" tIns="44808" rIns="89617" bIns="44808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3502">
                    <a:defRPr/>
                  </a:pPr>
                  <a:endParaRPr lang="en-US" sz="1600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</p:grpSp>
        </p:grpSp>
      </p:grpSp>
      <p:grpSp>
        <p:nvGrpSpPr>
          <p:cNvPr id="54" name="Start">
            <a:extLst>
              <a:ext uri="{FF2B5EF4-FFF2-40B4-BE49-F238E27FC236}">
                <a16:creationId xmlns:a16="http://schemas.microsoft.com/office/drawing/2014/main" id="{E8E12D18-9339-401E-8E37-B6BBEB1634B2}"/>
              </a:ext>
            </a:extLst>
          </p:cNvPr>
          <p:cNvGrpSpPr/>
          <p:nvPr/>
        </p:nvGrpSpPr>
        <p:grpSpPr>
          <a:xfrm>
            <a:off x="568832" y="5221598"/>
            <a:ext cx="2746469" cy="1602753"/>
            <a:chOff x="568047" y="5221851"/>
            <a:chExt cx="2746858" cy="1602981"/>
          </a:xfrm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B090B939-5837-436C-A400-E7A0E3F37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047" y="6658309"/>
              <a:ext cx="2746858" cy="166523"/>
            </a:xfrm>
            <a:custGeom>
              <a:avLst/>
              <a:gdLst>
                <a:gd name="T0" fmla="*/ 1523 w 1523"/>
                <a:gd name="T1" fmla="*/ 46 h 93"/>
                <a:gd name="T2" fmla="*/ 1476 w 1523"/>
                <a:gd name="T3" fmla="*/ 93 h 93"/>
                <a:gd name="T4" fmla="*/ 47 w 1523"/>
                <a:gd name="T5" fmla="*/ 93 h 93"/>
                <a:gd name="T6" fmla="*/ 0 w 1523"/>
                <a:gd name="T7" fmla="*/ 46 h 93"/>
                <a:gd name="T8" fmla="*/ 0 w 1523"/>
                <a:gd name="T9" fmla="*/ 46 h 93"/>
                <a:gd name="T10" fmla="*/ 47 w 1523"/>
                <a:gd name="T11" fmla="*/ 0 h 93"/>
                <a:gd name="T12" fmla="*/ 1476 w 1523"/>
                <a:gd name="T13" fmla="*/ 0 h 93"/>
                <a:gd name="T14" fmla="*/ 1523 w 1523"/>
                <a:gd name="T15" fmla="*/ 4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23" h="93">
                  <a:moveTo>
                    <a:pt x="1523" y="46"/>
                  </a:moveTo>
                  <a:cubicBezTo>
                    <a:pt x="1523" y="72"/>
                    <a:pt x="1502" y="93"/>
                    <a:pt x="1476" y="93"/>
                  </a:cubicBezTo>
                  <a:cubicBezTo>
                    <a:pt x="47" y="93"/>
                    <a:pt x="47" y="93"/>
                    <a:pt x="47" y="93"/>
                  </a:cubicBezTo>
                  <a:cubicBezTo>
                    <a:pt x="21" y="93"/>
                    <a:pt x="0" y="72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1476" y="0"/>
                    <a:pt x="1476" y="0"/>
                    <a:pt x="1476" y="0"/>
                  </a:cubicBezTo>
                  <a:cubicBezTo>
                    <a:pt x="1502" y="0"/>
                    <a:pt x="1523" y="21"/>
                    <a:pt x="1523" y="46"/>
                  </a:cubicBezTo>
                  <a:close/>
                </a:path>
              </a:pathLst>
            </a:custGeom>
            <a:solidFill>
              <a:srgbClr val="022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B0572750-6C2F-4342-A112-5A5291E06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12" y="5842811"/>
              <a:ext cx="883974" cy="877749"/>
            </a:xfrm>
            <a:custGeom>
              <a:avLst/>
              <a:gdLst>
                <a:gd name="T0" fmla="*/ 64 w 490"/>
                <a:gd name="T1" fmla="*/ 469 h 487"/>
                <a:gd name="T2" fmla="*/ 32 w 490"/>
                <a:gd name="T3" fmla="*/ 487 h 487"/>
                <a:gd name="T4" fmla="*/ 26 w 490"/>
                <a:gd name="T5" fmla="*/ 487 h 487"/>
                <a:gd name="T6" fmla="*/ 13 w 490"/>
                <a:gd name="T7" fmla="*/ 462 h 487"/>
                <a:gd name="T8" fmla="*/ 385 w 490"/>
                <a:gd name="T9" fmla="*/ 18 h 487"/>
                <a:gd name="T10" fmla="*/ 416 w 490"/>
                <a:gd name="T11" fmla="*/ 0 h 487"/>
                <a:gd name="T12" fmla="*/ 467 w 490"/>
                <a:gd name="T13" fmla="*/ 0 h 487"/>
                <a:gd name="T14" fmla="*/ 475 w 490"/>
                <a:gd name="T15" fmla="*/ 31 h 487"/>
                <a:gd name="T16" fmla="*/ 64 w 490"/>
                <a:gd name="T17" fmla="*/ 469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0" h="487">
                  <a:moveTo>
                    <a:pt x="64" y="469"/>
                  </a:moveTo>
                  <a:cubicBezTo>
                    <a:pt x="54" y="481"/>
                    <a:pt x="42" y="487"/>
                    <a:pt x="32" y="487"/>
                  </a:cubicBezTo>
                  <a:cubicBezTo>
                    <a:pt x="26" y="487"/>
                    <a:pt x="26" y="487"/>
                    <a:pt x="26" y="487"/>
                  </a:cubicBezTo>
                  <a:cubicBezTo>
                    <a:pt x="17" y="487"/>
                    <a:pt x="0" y="484"/>
                    <a:pt x="13" y="462"/>
                  </a:cubicBezTo>
                  <a:cubicBezTo>
                    <a:pt x="21" y="449"/>
                    <a:pt x="385" y="18"/>
                    <a:pt x="385" y="18"/>
                  </a:cubicBezTo>
                  <a:cubicBezTo>
                    <a:pt x="392" y="8"/>
                    <a:pt x="406" y="0"/>
                    <a:pt x="416" y="0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477" y="0"/>
                    <a:pt x="490" y="13"/>
                    <a:pt x="475" y="31"/>
                  </a:cubicBezTo>
                  <a:lnTo>
                    <a:pt x="64" y="469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46E1B10A-1524-44A1-AD16-3D2ACA4DE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4439" y="5842811"/>
              <a:ext cx="885531" cy="877749"/>
            </a:xfrm>
            <a:custGeom>
              <a:avLst/>
              <a:gdLst>
                <a:gd name="T0" fmla="*/ 427 w 491"/>
                <a:gd name="T1" fmla="*/ 469 h 487"/>
                <a:gd name="T2" fmla="*/ 458 w 491"/>
                <a:gd name="T3" fmla="*/ 487 h 487"/>
                <a:gd name="T4" fmla="*/ 464 w 491"/>
                <a:gd name="T5" fmla="*/ 487 h 487"/>
                <a:gd name="T6" fmla="*/ 477 w 491"/>
                <a:gd name="T7" fmla="*/ 462 h 487"/>
                <a:gd name="T8" fmla="*/ 105 w 491"/>
                <a:gd name="T9" fmla="*/ 18 h 487"/>
                <a:gd name="T10" fmla="*/ 74 w 491"/>
                <a:gd name="T11" fmla="*/ 0 h 487"/>
                <a:gd name="T12" fmla="*/ 23 w 491"/>
                <a:gd name="T13" fmla="*/ 0 h 487"/>
                <a:gd name="T14" fmla="*/ 15 w 491"/>
                <a:gd name="T15" fmla="*/ 31 h 487"/>
                <a:gd name="T16" fmla="*/ 427 w 491"/>
                <a:gd name="T17" fmla="*/ 469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1" h="487">
                  <a:moveTo>
                    <a:pt x="427" y="469"/>
                  </a:moveTo>
                  <a:cubicBezTo>
                    <a:pt x="436" y="481"/>
                    <a:pt x="448" y="487"/>
                    <a:pt x="458" y="487"/>
                  </a:cubicBezTo>
                  <a:cubicBezTo>
                    <a:pt x="464" y="487"/>
                    <a:pt x="464" y="487"/>
                    <a:pt x="464" y="487"/>
                  </a:cubicBezTo>
                  <a:cubicBezTo>
                    <a:pt x="473" y="487"/>
                    <a:pt x="491" y="484"/>
                    <a:pt x="477" y="462"/>
                  </a:cubicBezTo>
                  <a:cubicBezTo>
                    <a:pt x="469" y="449"/>
                    <a:pt x="105" y="18"/>
                    <a:pt x="105" y="18"/>
                  </a:cubicBezTo>
                  <a:cubicBezTo>
                    <a:pt x="98" y="8"/>
                    <a:pt x="84" y="0"/>
                    <a:pt x="74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4" y="0"/>
                    <a:pt x="0" y="13"/>
                    <a:pt x="15" y="31"/>
                  </a:cubicBezTo>
                  <a:lnTo>
                    <a:pt x="427" y="469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2621259B-C2A5-4798-94E4-C551AB000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478" y="5842811"/>
              <a:ext cx="298808" cy="192980"/>
            </a:xfrm>
            <a:custGeom>
              <a:avLst/>
              <a:gdLst>
                <a:gd name="T0" fmla="*/ 143 w 166"/>
                <a:gd name="T1" fmla="*/ 0 h 107"/>
                <a:gd name="T2" fmla="*/ 92 w 166"/>
                <a:gd name="T3" fmla="*/ 0 h 107"/>
                <a:gd name="T4" fmla="*/ 61 w 166"/>
                <a:gd name="T5" fmla="*/ 18 h 107"/>
                <a:gd name="T6" fmla="*/ 0 w 166"/>
                <a:gd name="T7" fmla="*/ 90 h 107"/>
                <a:gd name="T8" fmla="*/ 80 w 166"/>
                <a:gd name="T9" fmla="*/ 107 h 107"/>
                <a:gd name="T10" fmla="*/ 151 w 166"/>
                <a:gd name="T11" fmla="*/ 31 h 107"/>
                <a:gd name="T12" fmla="*/ 143 w 166"/>
                <a:gd name="T1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107">
                  <a:moveTo>
                    <a:pt x="143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82" y="0"/>
                    <a:pt x="68" y="8"/>
                    <a:pt x="61" y="18"/>
                  </a:cubicBezTo>
                  <a:cubicBezTo>
                    <a:pt x="61" y="18"/>
                    <a:pt x="36" y="47"/>
                    <a:pt x="0" y="90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151" y="31"/>
                    <a:pt x="151" y="31"/>
                    <a:pt x="151" y="31"/>
                  </a:cubicBezTo>
                  <a:cubicBezTo>
                    <a:pt x="166" y="13"/>
                    <a:pt x="153" y="0"/>
                    <a:pt x="143" y="0"/>
                  </a:cubicBez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A0400F1E-039E-4F88-84F9-E79390470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4440" y="5842811"/>
              <a:ext cx="364173" cy="249007"/>
            </a:xfrm>
            <a:custGeom>
              <a:avLst/>
              <a:gdLst>
                <a:gd name="T0" fmla="*/ 105 w 202"/>
                <a:gd name="T1" fmla="*/ 18 h 138"/>
                <a:gd name="T2" fmla="*/ 74 w 202"/>
                <a:gd name="T3" fmla="*/ 0 h 138"/>
                <a:gd name="T4" fmla="*/ 23 w 202"/>
                <a:gd name="T5" fmla="*/ 0 h 138"/>
                <a:gd name="T6" fmla="*/ 15 w 202"/>
                <a:gd name="T7" fmla="*/ 31 h 138"/>
                <a:gd name="T8" fmla="*/ 115 w 202"/>
                <a:gd name="T9" fmla="*/ 138 h 138"/>
                <a:gd name="T10" fmla="*/ 202 w 202"/>
                <a:gd name="T11" fmla="*/ 133 h 138"/>
                <a:gd name="T12" fmla="*/ 105 w 202"/>
                <a:gd name="T13" fmla="*/ 1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138">
                  <a:moveTo>
                    <a:pt x="105" y="18"/>
                  </a:moveTo>
                  <a:cubicBezTo>
                    <a:pt x="98" y="8"/>
                    <a:pt x="84" y="0"/>
                    <a:pt x="74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4" y="0"/>
                    <a:pt x="0" y="13"/>
                    <a:pt x="15" y="31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202" y="133"/>
                    <a:pt x="202" y="133"/>
                    <a:pt x="202" y="133"/>
                  </a:cubicBezTo>
                  <a:cubicBezTo>
                    <a:pt x="147" y="68"/>
                    <a:pt x="105" y="18"/>
                    <a:pt x="105" y="18"/>
                  </a:cubicBezTo>
                  <a:close/>
                </a:path>
              </a:pathLst>
            </a:custGeom>
            <a:solidFill>
              <a:srgbClr val="8081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CD2256C0-8A62-406C-923C-317177198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060" y="5685625"/>
              <a:ext cx="2684606" cy="235000"/>
            </a:xfrm>
            <a:custGeom>
              <a:avLst/>
              <a:gdLst>
                <a:gd name="T0" fmla="*/ 1489 w 1489"/>
                <a:gd name="T1" fmla="*/ 0 h 131"/>
                <a:gd name="T2" fmla="*/ 0 w 1489"/>
                <a:gd name="T3" fmla="*/ 0 h 131"/>
                <a:gd name="T4" fmla="*/ 0 w 1489"/>
                <a:gd name="T5" fmla="*/ 18 h 131"/>
                <a:gd name="T6" fmla="*/ 744 w 1489"/>
                <a:gd name="T7" fmla="*/ 131 h 131"/>
                <a:gd name="T8" fmla="*/ 1489 w 1489"/>
                <a:gd name="T9" fmla="*/ 16 h 131"/>
                <a:gd name="T10" fmla="*/ 1489 w 1489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9" h="131">
                  <a:moveTo>
                    <a:pt x="14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23" y="84"/>
                    <a:pt x="409" y="131"/>
                    <a:pt x="744" y="131"/>
                  </a:cubicBezTo>
                  <a:cubicBezTo>
                    <a:pt x="1079" y="131"/>
                    <a:pt x="1367" y="84"/>
                    <a:pt x="1489" y="16"/>
                  </a:cubicBezTo>
                  <a:lnTo>
                    <a:pt x="1489" y="0"/>
                  </a:lnTo>
                  <a:close/>
                </a:path>
              </a:pathLst>
            </a:custGeom>
            <a:solidFill>
              <a:srgbClr val="B897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4" name="Rectangle 16">
              <a:extLst>
                <a:ext uri="{FF2B5EF4-FFF2-40B4-BE49-F238E27FC236}">
                  <a16:creationId xmlns:a16="http://schemas.microsoft.com/office/drawing/2014/main" id="{157F23AA-5FF3-4540-B530-24C9274813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2869" y="5221851"/>
              <a:ext cx="627187" cy="424868"/>
            </a:xfrm>
            <a:prstGeom prst="rect">
              <a:avLst/>
            </a:pr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5" name="Oval 17">
              <a:extLst>
                <a:ext uri="{FF2B5EF4-FFF2-40B4-BE49-F238E27FC236}">
                  <a16:creationId xmlns:a16="http://schemas.microsoft.com/office/drawing/2014/main" id="{0062E427-8E7A-4291-8501-B20B28966D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1015" y="5231187"/>
              <a:ext cx="10895" cy="1089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6" name="Rectangle 18">
              <a:extLst>
                <a:ext uri="{FF2B5EF4-FFF2-40B4-BE49-F238E27FC236}">
                  <a16:creationId xmlns:a16="http://schemas.microsoft.com/office/drawing/2014/main" id="{D3FFF464-6801-42C8-AC3D-A61BDFF1B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4656" y="5254534"/>
              <a:ext cx="585166" cy="375066"/>
            </a:xfrm>
            <a:prstGeom prst="rect">
              <a:avLst/>
            </a:prstGeom>
            <a:solidFill>
              <a:srgbClr val="45226D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40F10DFB-0A1D-48BD-BAE6-29862D02A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377" y="5654500"/>
              <a:ext cx="809272" cy="32682"/>
            </a:xfrm>
            <a:custGeom>
              <a:avLst/>
              <a:gdLst>
                <a:gd name="T0" fmla="*/ 0 w 449"/>
                <a:gd name="T1" fmla="*/ 0 h 18"/>
                <a:gd name="T2" fmla="*/ 0 w 449"/>
                <a:gd name="T3" fmla="*/ 1 h 18"/>
                <a:gd name="T4" fmla="*/ 16 w 449"/>
                <a:gd name="T5" fmla="*/ 18 h 18"/>
                <a:gd name="T6" fmla="*/ 432 w 449"/>
                <a:gd name="T7" fmla="*/ 18 h 18"/>
                <a:gd name="T8" fmla="*/ 449 w 449"/>
                <a:gd name="T9" fmla="*/ 1 h 18"/>
                <a:gd name="T10" fmla="*/ 449 w 449"/>
                <a:gd name="T11" fmla="*/ 0 h 18"/>
                <a:gd name="T12" fmla="*/ 0 w 44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9" h="1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0"/>
                    <a:pt x="7" y="18"/>
                    <a:pt x="16" y="18"/>
                  </a:cubicBezTo>
                  <a:cubicBezTo>
                    <a:pt x="432" y="18"/>
                    <a:pt x="432" y="18"/>
                    <a:pt x="432" y="18"/>
                  </a:cubicBezTo>
                  <a:cubicBezTo>
                    <a:pt x="441" y="18"/>
                    <a:pt x="449" y="10"/>
                    <a:pt x="449" y="1"/>
                  </a:cubicBezTo>
                  <a:cubicBezTo>
                    <a:pt x="449" y="0"/>
                    <a:pt x="449" y="0"/>
                    <a:pt x="44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E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68" name="Freeform 155">
              <a:extLst>
                <a:ext uri="{FF2B5EF4-FFF2-40B4-BE49-F238E27FC236}">
                  <a16:creationId xmlns:a16="http://schemas.microsoft.com/office/drawing/2014/main" id="{C6F814B5-1DCC-4A07-8360-20CB255D0501}"/>
                </a:ext>
              </a:extLst>
            </p:cNvPr>
            <p:cNvSpPr>
              <a:spLocks noChangeAspect="1" noEditPoints="1"/>
            </p:cNvSpPr>
            <p:nvPr/>
          </p:nvSpPr>
          <p:spPr bwMode="black">
            <a:xfrm>
              <a:off x="1407134" y="5299715"/>
              <a:ext cx="274312" cy="273199"/>
            </a:xfrm>
            <a:custGeom>
              <a:avLst/>
              <a:gdLst>
                <a:gd name="T0" fmla="*/ 112 w 246"/>
                <a:gd name="T1" fmla="*/ 19 h 245"/>
                <a:gd name="T2" fmla="*/ 246 w 246"/>
                <a:gd name="T3" fmla="*/ 0 h 245"/>
                <a:gd name="T4" fmla="*/ 246 w 246"/>
                <a:gd name="T5" fmla="*/ 116 h 245"/>
                <a:gd name="T6" fmla="*/ 112 w 246"/>
                <a:gd name="T7" fmla="*/ 116 h 245"/>
                <a:gd name="T8" fmla="*/ 112 w 246"/>
                <a:gd name="T9" fmla="*/ 19 h 245"/>
                <a:gd name="T10" fmla="*/ 102 w 246"/>
                <a:gd name="T11" fmla="*/ 116 h 245"/>
                <a:gd name="T12" fmla="*/ 102 w 246"/>
                <a:gd name="T13" fmla="*/ 19 h 245"/>
                <a:gd name="T14" fmla="*/ 0 w 246"/>
                <a:gd name="T15" fmla="*/ 34 h 245"/>
                <a:gd name="T16" fmla="*/ 0 w 246"/>
                <a:gd name="T17" fmla="*/ 116 h 245"/>
                <a:gd name="T18" fmla="*/ 102 w 246"/>
                <a:gd name="T19" fmla="*/ 116 h 245"/>
                <a:gd name="T20" fmla="*/ 102 w 246"/>
                <a:gd name="T21" fmla="*/ 126 h 245"/>
                <a:gd name="T22" fmla="*/ 0 w 246"/>
                <a:gd name="T23" fmla="*/ 126 h 245"/>
                <a:gd name="T24" fmla="*/ 0 w 246"/>
                <a:gd name="T25" fmla="*/ 211 h 245"/>
                <a:gd name="T26" fmla="*/ 102 w 246"/>
                <a:gd name="T27" fmla="*/ 226 h 245"/>
                <a:gd name="T28" fmla="*/ 102 w 246"/>
                <a:gd name="T29" fmla="*/ 126 h 245"/>
                <a:gd name="T30" fmla="*/ 112 w 246"/>
                <a:gd name="T31" fmla="*/ 126 h 245"/>
                <a:gd name="T32" fmla="*/ 112 w 246"/>
                <a:gd name="T33" fmla="*/ 226 h 245"/>
                <a:gd name="T34" fmla="*/ 246 w 246"/>
                <a:gd name="T35" fmla="*/ 245 h 245"/>
                <a:gd name="T36" fmla="*/ 246 w 246"/>
                <a:gd name="T37" fmla="*/ 126 h 245"/>
                <a:gd name="T38" fmla="*/ 112 w 246"/>
                <a:gd name="T39" fmla="*/ 12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6" h="245">
                  <a:moveTo>
                    <a:pt x="112" y="19"/>
                  </a:moveTo>
                  <a:lnTo>
                    <a:pt x="246" y="0"/>
                  </a:lnTo>
                  <a:lnTo>
                    <a:pt x="246" y="116"/>
                  </a:lnTo>
                  <a:lnTo>
                    <a:pt x="112" y="116"/>
                  </a:lnTo>
                  <a:lnTo>
                    <a:pt x="112" y="19"/>
                  </a:lnTo>
                  <a:close/>
                  <a:moveTo>
                    <a:pt x="102" y="116"/>
                  </a:moveTo>
                  <a:lnTo>
                    <a:pt x="102" y="19"/>
                  </a:lnTo>
                  <a:lnTo>
                    <a:pt x="0" y="34"/>
                  </a:lnTo>
                  <a:lnTo>
                    <a:pt x="0" y="116"/>
                  </a:lnTo>
                  <a:lnTo>
                    <a:pt x="102" y="116"/>
                  </a:lnTo>
                  <a:close/>
                  <a:moveTo>
                    <a:pt x="102" y="126"/>
                  </a:moveTo>
                  <a:lnTo>
                    <a:pt x="0" y="126"/>
                  </a:lnTo>
                  <a:lnTo>
                    <a:pt x="0" y="211"/>
                  </a:lnTo>
                  <a:lnTo>
                    <a:pt x="102" y="226"/>
                  </a:lnTo>
                  <a:lnTo>
                    <a:pt x="102" y="126"/>
                  </a:lnTo>
                  <a:close/>
                  <a:moveTo>
                    <a:pt x="112" y="126"/>
                  </a:moveTo>
                  <a:lnTo>
                    <a:pt x="112" y="226"/>
                  </a:lnTo>
                  <a:lnTo>
                    <a:pt x="246" y="245"/>
                  </a:lnTo>
                  <a:lnTo>
                    <a:pt x="246" y="126"/>
                  </a:lnTo>
                  <a:lnTo>
                    <a:pt x="112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913678">
                <a:defRPr/>
              </a:pPr>
              <a:endParaRPr lang="en-US" sz="2000" kern="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9" name="Rectangle 12">
              <a:extLst>
                <a:ext uri="{FF2B5EF4-FFF2-40B4-BE49-F238E27FC236}">
                  <a16:creationId xmlns:a16="http://schemas.microsoft.com/office/drawing/2014/main" id="{59FE68BB-19AF-45CF-9C6E-A208CE37B7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63036" y="5221851"/>
              <a:ext cx="627187" cy="424868"/>
            </a:xfrm>
            <a:prstGeom prst="rect">
              <a:avLst/>
            </a:prstGeom>
            <a:solidFill>
              <a:srgbClr val="9F9F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70" name="Oval 13">
              <a:extLst>
                <a:ext uri="{FF2B5EF4-FFF2-40B4-BE49-F238E27FC236}">
                  <a16:creationId xmlns:a16="http://schemas.microsoft.com/office/drawing/2014/main" id="{A71AA9A6-216A-4F81-BC84-9996A0160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1182" y="5231187"/>
              <a:ext cx="10895" cy="1089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71" name="Rectangle 14">
              <a:extLst>
                <a:ext uri="{FF2B5EF4-FFF2-40B4-BE49-F238E27FC236}">
                  <a16:creationId xmlns:a16="http://schemas.microsoft.com/office/drawing/2014/main" id="{91813E04-9A49-4EC4-A2E5-F4E55F932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4824" y="5254534"/>
              <a:ext cx="583610" cy="375066"/>
            </a:xfrm>
            <a:prstGeom prst="rect">
              <a:avLst/>
            </a:prstGeom>
            <a:solidFill>
              <a:srgbClr val="45226D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3732DE63-EBED-4546-A855-A504A4C5D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4988" y="5654500"/>
              <a:ext cx="809272" cy="32682"/>
            </a:xfrm>
            <a:custGeom>
              <a:avLst/>
              <a:gdLst>
                <a:gd name="T0" fmla="*/ 0 w 449"/>
                <a:gd name="T1" fmla="*/ 0 h 18"/>
                <a:gd name="T2" fmla="*/ 0 w 449"/>
                <a:gd name="T3" fmla="*/ 1 h 18"/>
                <a:gd name="T4" fmla="*/ 17 w 449"/>
                <a:gd name="T5" fmla="*/ 18 h 18"/>
                <a:gd name="T6" fmla="*/ 433 w 449"/>
                <a:gd name="T7" fmla="*/ 18 h 18"/>
                <a:gd name="T8" fmla="*/ 449 w 449"/>
                <a:gd name="T9" fmla="*/ 1 h 18"/>
                <a:gd name="T10" fmla="*/ 449 w 449"/>
                <a:gd name="T11" fmla="*/ 0 h 18"/>
                <a:gd name="T12" fmla="*/ 0 w 449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9" h="1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0"/>
                    <a:pt x="8" y="18"/>
                    <a:pt x="17" y="18"/>
                  </a:cubicBezTo>
                  <a:cubicBezTo>
                    <a:pt x="433" y="18"/>
                    <a:pt x="433" y="18"/>
                    <a:pt x="433" y="18"/>
                  </a:cubicBezTo>
                  <a:cubicBezTo>
                    <a:pt x="442" y="18"/>
                    <a:pt x="449" y="10"/>
                    <a:pt x="449" y="1"/>
                  </a:cubicBezTo>
                  <a:cubicBezTo>
                    <a:pt x="449" y="0"/>
                    <a:pt x="449" y="0"/>
                    <a:pt x="44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7E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algn="ctr" defTabSz="896214"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grpSp>
          <p:nvGrpSpPr>
            <p:cNvPr id="73" name="Group 156">
              <a:extLst>
                <a:ext uri="{FF2B5EF4-FFF2-40B4-BE49-F238E27FC236}">
                  <a16:creationId xmlns:a16="http://schemas.microsoft.com/office/drawing/2014/main" id="{92E66488-F298-4249-A722-25013CD759C3}"/>
                </a:ext>
              </a:extLst>
            </p:cNvPr>
            <p:cNvGrpSpPr/>
            <p:nvPr/>
          </p:nvGrpSpPr>
          <p:grpSpPr>
            <a:xfrm>
              <a:off x="2241155" y="5294745"/>
              <a:ext cx="248972" cy="290984"/>
              <a:chOff x="5026109" y="4686995"/>
              <a:chExt cx="253964" cy="296819"/>
            </a:xfrm>
          </p:grpSpPr>
          <p:sp>
            <p:nvSpPr>
              <p:cNvPr id="74" name="Freeform 47">
                <a:extLst>
                  <a:ext uri="{FF2B5EF4-FFF2-40B4-BE49-F238E27FC236}">
                    <a16:creationId xmlns:a16="http://schemas.microsoft.com/office/drawing/2014/main" id="{92FEA434-6236-443A-963C-94F7219882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6109" y="4755247"/>
                <a:ext cx="253964" cy="228567"/>
              </a:xfrm>
              <a:custGeom>
                <a:avLst/>
                <a:gdLst>
                  <a:gd name="T0" fmla="*/ 99 w 117"/>
                  <a:gd name="T1" fmla="*/ 40 h 105"/>
                  <a:gd name="T2" fmla="*/ 114 w 117"/>
                  <a:gd name="T3" fmla="*/ 14 h 105"/>
                  <a:gd name="T4" fmla="*/ 89 w 117"/>
                  <a:gd name="T5" fmla="*/ 1 h 105"/>
                  <a:gd name="T6" fmla="*/ 63 w 117"/>
                  <a:gd name="T7" fmla="*/ 7 h 105"/>
                  <a:gd name="T8" fmla="*/ 40 w 117"/>
                  <a:gd name="T9" fmla="*/ 1 h 105"/>
                  <a:gd name="T10" fmla="*/ 12 w 117"/>
                  <a:gd name="T11" fmla="*/ 18 h 105"/>
                  <a:gd name="T12" fmla="*/ 20 w 117"/>
                  <a:gd name="T13" fmla="*/ 87 h 105"/>
                  <a:gd name="T14" fmla="*/ 42 w 117"/>
                  <a:gd name="T15" fmla="*/ 105 h 105"/>
                  <a:gd name="T16" fmla="*/ 64 w 117"/>
                  <a:gd name="T17" fmla="*/ 99 h 105"/>
                  <a:gd name="T18" fmla="*/ 87 w 117"/>
                  <a:gd name="T19" fmla="*/ 104 h 105"/>
                  <a:gd name="T20" fmla="*/ 108 w 117"/>
                  <a:gd name="T21" fmla="*/ 88 h 105"/>
                  <a:gd name="T22" fmla="*/ 117 w 117"/>
                  <a:gd name="T23" fmla="*/ 68 h 105"/>
                  <a:gd name="T24" fmla="*/ 99 w 117"/>
                  <a:gd name="T25" fmla="*/ 4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05">
                    <a:moveTo>
                      <a:pt x="99" y="40"/>
                    </a:moveTo>
                    <a:cubicBezTo>
                      <a:pt x="99" y="23"/>
                      <a:pt x="113" y="15"/>
                      <a:pt x="114" y="14"/>
                    </a:cubicBezTo>
                    <a:cubicBezTo>
                      <a:pt x="106" y="3"/>
                      <a:pt x="93" y="1"/>
                      <a:pt x="89" y="1"/>
                    </a:cubicBezTo>
                    <a:cubicBezTo>
                      <a:pt x="78" y="0"/>
                      <a:pt x="68" y="7"/>
                      <a:pt x="63" y="7"/>
                    </a:cubicBezTo>
                    <a:cubicBezTo>
                      <a:pt x="57" y="7"/>
                      <a:pt x="49" y="1"/>
                      <a:pt x="40" y="1"/>
                    </a:cubicBezTo>
                    <a:cubicBezTo>
                      <a:pt x="28" y="1"/>
                      <a:pt x="18" y="8"/>
                      <a:pt x="12" y="18"/>
                    </a:cubicBezTo>
                    <a:cubicBezTo>
                      <a:pt x="0" y="39"/>
                      <a:pt x="9" y="70"/>
                      <a:pt x="20" y="87"/>
                    </a:cubicBezTo>
                    <a:cubicBezTo>
                      <a:pt x="26" y="96"/>
                      <a:pt x="33" y="105"/>
                      <a:pt x="42" y="105"/>
                    </a:cubicBezTo>
                    <a:cubicBezTo>
                      <a:pt x="51" y="104"/>
                      <a:pt x="54" y="99"/>
                      <a:pt x="64" y="99"/>
                    </a:cubicBezTo>
                    <a:cubicBezTo>
                      <a:pt x="75" y="99"/>
                      <a:pt x="78" y="105"/>
                      <a:pt x="87" y="104"/>
                    </a:cubicBezTo>
                    <a:cubicBezTo>
                      <a:pt x="96" y="104"/>
                      <a:pt x="102" y="96"/>
                      <a:pt x="108" y="88"/>
                    </a:cubicBezTo>
                    <a:cubicBezTo>
                      <a:pt x="115" y="78"/>
                      <a:pt x="117" y="69"/>
                      <a:pt x="117" y="68"/>
                    </a:cubicBezTo>
                    <a:cubicBezTo>
                      <a:pt x="117" y="68"/>
                      <a:pt x="99" y="61"/>
                      <a:pt x="99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75" name="Freeform 48">
                <a:extLst>
                  <a:ext uri="{FF2B5EF4-FFF2-40B4-BE49-F238E27FC236}">
                    <a16:creationId xmlns:a16="http://schemas.microsoft.com/office/drawing/2014/main" id="{BF537406-6449-4BEA-946B-FB0DB7C3D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440" y="4686995"/>
                <a:ext cx="61904" cy="68253"/>
              </a:xfrm>
              <a:custGeom>
                <a:avLst/>
                <a:gdLst>
                  <a:gd name="T0" fmla="*/ 21 w 29"/>
                  <a:gd name="T1" fmla="*/ 22 h 32"/>
                  <a:gd name="T2" fmla="*/ 28 w 29"/>
                  <a:gd name="T3" fmla="*/ 0 h 32"/>
                  <a:gd name="T4" fmla="*/ 8 w 29"/>
                  <a:gd name="T5" fmla="*/ 10 h 32"/>
                  <a:gd name="T6" fmla="*/ 1 w 29"/>
                  <a:gd name="T7" fmla="*/ 31 h 32"/>
                  <a:gd name="T8" fmla="*/ 21 w 29"/>
                  <a:gd name="T9" fmla="*/ 2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32">
                    <a:moveTo>
                      <a:pt x="21" y="22"/>
                    </a:moveTo>
                    <a:cubicBezTo>
                      <a:pt x="26" y="16"/>
                      <a:pt x="29" y="8"/>
                      <a:pt x="28" y="0"/>
                    </a:cubicBezTo>
                    <a:cubicBezTo>
                      <a:pt x="21" y="0"/>
                      <a:pt x="13" y="4"/>
                      <a:pt x="8" y="10"/>
                    </a:cubicBezTo>
                    <a:cubicBezTo>
                      <a:pt x="3" y="15"/>
                      <a:pt x="0" y="23"/>
                      <a:pt x="1" y="31"/>
                    </a:cubicBezTo>
                    <a:cubicBezTo>
                      <a:pt x="8" y="32"/>
                      <a:pt x="16" y="27"/>
                      <a:pt x="21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17" tIns="44808" rIns="89617" bIns="44808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3502">
                  <a:defRPr/>
                </a:pPr>
                <a:endParaRPr lang="en-US" sz="1600" kern="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</p:grpSp>
      <p:sp>
        <p:nvSpPr>
          <p:cNvPr id="76" name="Title">
            <a:extLst>
              <a:ext uri="{FF2B5EF4-FFF2-40B4-BE49-F238E27FC236}">
                <a16:creationId xmlns:a16="http://schemas.microsoft.com/office/drawing/2014/main" id="{4EBBBEF9-DE23-4CE1-85CF-CC8C1008C62A}"/>
              </a:ext>
            </a:extLst>
          </p:cNvPr>
          <p:cNvSpPr txBox="1">
            <a:spLocks/>
          </p:cNvSpPr>
          <p:nvPr/>
        </p:nvSpPr>
        <p:spPr>
          <a:xfrm>
            <a:off x="226800" y="293966"/>
            <a:ext cx="10936837" cy="89838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rgbClr val="0070AD"/>
                </a:solidFill>
                <a:cs typeface="Calibri Light" panose="020F0302020204030204" pitchFamily="34" charset="0"/>
              </a:rPr>
              <a:t>End </a:t>
            </a:r>
            <a:r>
              <a:rPr lang="de-DE" dirty="0" err="1">
                <a:solidFill>
                  <a:srgbClr val="0070AD"/>
                </a:solidFill>
                <a:cs typeface="Calibri Light" panose="020F0302020204030204" pitchFamily="34" charset="0"/>
              </a:rPr>
              <a:t>to</a:t>
            </a:r>
            <a:r>
              <a:rPr lang="de-DE" dirty="0">
                <a:solidFill>
                  <a:srgbClr val="0070AD"/>
                </a:solidFill>
                <a:cs typeface="Calibri Light" panose="020F0302020204030204" pitchFamily="34" charset="0"/>
              </a:rPr>
              <a:t> End</a:t>
            </a:r>
          </a:p>
        </p:txBody>
      </p:sp>
      <p:grpSp>
        <p:nvGrpSpPr>
          <p:cNvPr id="77" name="User Feedback">
            <a:extLst>
              <a:ext uri="{FF2B5EF4-FFF2-40B4-BE49-F238E27FC236}">
                <a16:creationId xmlns:a16="http://schemas.microsoft.com/office/drawing/2014/main" id="{A8254EA4-BED9-41E8-95CB-905CF980C387}"/>
              </a:ext>
            </a:extLst>
          </p:cNvPr>
          <p:cNvGrpSpPr/>
          <p:nvPr/>
        </p:nvGrpSpPr>
        <p:grpSpPr>
          <a:xfrm>
            <a:off x="8672443" y="1387673"/>
            <a:ext cx="3518693" cy="2056815"/>
            <a:chOff x="8672808" y="1387383"/>
            <a:chExt cx="3519192" cy="2057106"/>
          </a:xfrm>
        </p:grpSpPr>
        <p:sp>
          <p:nvSpPr>
            <p:cNvPr id="78" name="TextBox 115">
              <a:extLst>
                <a:ext uri="{FF2B5EF4-FFF2-40B4-BE49-F238E27FC236}">
                  <a16:creationId xmlns:a16="http://schemas.microsoft.com/office/drawing/2014/main" id="{B945B910-9223-4B33-9319-C39289047FC1}"/>
                </a:ext>
              </a:extLst>
            </p:cNvPr>
            <p:cNvSpPr txBox="1"/>
            <p:nvPr/>
          </p:nvSpPr>
          <p:spPr>
            <a:xfrm>
              <a:off x="8672808" y="1387383"/>
              <a:ext cx="1905317" cy="380946"/>
            </a:xfrm>
            <a:prstGeom prst="rect">
              <a:avLst/>
            </a:prstGeom>
          </p:spPr>
          <p:txBody>
            <a:bodyPr vert="horz" wrap="square" lIns="91414" tIns="91414" rIns="91414" bIns="91414" rtlCol="0" anchor="ctr">
              <a:noAutofit/>
            </a:bodyPr>
            <a:lstStyle/>
            <a:p>
              <a:pPr marL="233273" indent="-233273" algn="ctr" defTabSz="914049">
                <a:defRPr/>
              </a:pPr>
              <a:r>
                <a:rPr lang="en-US" sz="1400" kern="0" spc="-49" dirty="0">
                  <a:solidFill>
                    <a:srgbClr val="3F3F3F"/>
                  </a:solidFill>
                  <a:latin typeface="+mj-lt"/>
                  <a:ea typeface="Segoe UI" pitchFamily="34" charset="0"/>
                  <a:cs typeface="Segoe UI" pitchFamily="34" charset="0"/>
                </a:rPr>
                <a:t>User Feedback</a:t>
              </a:r>
            </a:p>
          </p:txBody>
        </p:sp>
        <p:sp>
          <p:nvSpPr>
            <p:cNvPr id="79" name="Rounded Rectangle 116">
              <a:extLst>
                <a:ext uri="{FF2B5EF4-FFF2-40B4-BE49-F238E27FC236}">
                  <a16:creationId xmlns:a16="http://schemas.microsoft.com/office/drawing/2014/main" id="{4A9800CD-B866-4968-8B2B-96A94D233A75}"/>
                </a:ext>
              </a:extLst>
            </p:cNvPr>
            <p:cNvSpPr/>
            <p:nvPr/>
          </p:nvSpPr>
          <p:spPr>
            <a:xfrm>
              <a:off x="8825479" y="1844516"/>
              <a:ext cx="1599973" cy="1599973"/>
            </a:xfrm>
            <a:prstGeom prst="roundRect">
              <a:avLst>
                <a:gd name="adj" fmla="val 5783"/>
              </a:avLst>
            </a:prstGeom>
            <a:solidFill>
              <a:srgbClr val="505050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14" tIns="91414" rIns="91414" bIns="91414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49">
                <a:defRPr/>
              </a:pPr>
              <a:endParaRPr lang="en-US" sz="1100" kern="0" dirty="0" err="1">
                <a:solidFill>
                  <a:srgbClr val="FFFFFF"/>
                </a:solidFill>
                <a:latin typeface="+mj-lt"/>
              </a:endParaRPr>
            </a:p>
          </p:txBody>
        </p:sp>
        <p:pic>
          <p:nvPicPr>
            <p:cNvPr id="80" name="Picture 196">
              <a:extLst>
                <a:ext uri="{FF2B5EF4-FFF2-40B4-BE49-F238E27FC236}">
                  <a16:creationId xmlns:a16="http://schemas.microsoft.com/office/drawing/2014/main" id="{C67C1D8A-7498-4B9D-84FE-6715F5882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033428" y="1793694"/>
              <a:ext cx="2158572" cy="1638202"/>
            </a:xfrm>
            <a:prstGeom prst="rect">
              <a:avLst/>
            </a:prstGeom>
          </p:spPr>
        </p:pic>
        <p:grpSp>
          <p:nvGrpSpPr>
            <p:cNvPr id="81" name="Group 31">
              <a:extLst>
                <a:ext uri="{FF2B5EF4-FFF2-40B4-BE49-F238E27FC236}">
                  <a16:creationId xmlns:a16="http://schemas.microsoft.com/office/drawing/2014/main" id="{8942829A-F76E-4F83-A49D-D6D81E70066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023389" y="2145838"/>
              <a:ext cx="1173445" cy="918213"/>
              <a:chOff x="5798" y="1376"/>
              <a:chExt cx="754" cy="590"/>
            </a:xfrm>
          </p:grpSpPr>
          <p:sp>
            <p:nvSpPr>
              <p:cNvPr id="82" name="AutoShape 30">
                <a:extLst>
                  <a:ext uri="{FF2B5EF4-FFF2-40B4-BE49-F238E27FC236}">
                    <a16:creationId xmlns:a16="http://schemas.microsoft.com/office/drawing/2014/main" id="{CCCD2523-B075-4D4B-B3F6-7A8371D0A23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798" y="1376"/>
                <a:ext cx="754" cy="5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96214">
                  <a:defRPr/>
                </a:pPr>
                <a:endParaRPr lang="en-US" sz="1600" kern="0">
                  <a:solidFill>
                    <a:sysClr val="windowText" lastClr="000000"/>
                  </a:solidFill>
                  <a:latin typeface="+mj-lt"/>
                </a:endParaRPr>
              </a:p>
            </p:txBody>
          </p:sp>
          <p:sp>
            <p:nvSpPr>
              <p:cNvPr id="83" name="Freeform 32">
                <a:extLst>
                  <a:ext uri="{FF2B5EF4-FFF2-40B4-BE49-F238E27FC236}">
                    <a16:creationId xmlns:a16="http://schemas.microsoft.com/office/drawing/2014/main" id="{A7A0044E-835B-4330-A2A8-59E211E10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9" y="1377"/>
                <a:ext cx="752" cy="589"/>
              </a:xfrm>
              <a:custGeom>
                <a:avLst/>
                <a:gdLst>
                  <a:gd name="T0" fmla="*/ 659 w 752"/>
                  <a:gd name="T1" fmla="*/ 0 h 589"/>
                  <a:gd name="T2" fmla="*/ 258 w 752"/>
                  <a:gd name="T3" fmla="*/ 402 h 589"/>
                  <a:gd name="T4" fmla="*/ 92 w 752"/>
                  <a:gd name="T5" fmla="*/ 237 h 589"/>
                  <a:gd name="T6" fmla="*/ 0 w 752"/>
                  <a:gd name="T7" fmla="*/ 330 h 589"/>
                  <a:gd name="T8" fmla="*/ 165 w 752"/>
                  <a:gd name="T9" fmla="*/ 496 h 589"/>
                  <a:gd name="T10" fmla="*/ 164 w 752"/>
                  <a:gd name="T11" fmla="*/ 496 h 589"/>
                  <a:gd name="T12" fmla="*/ 257 w 752"/>
                  <a:gd name="T13" fmla="*/ 589 h 589"/>
                  <a:gd name="T14" fmla="*/ 752 w 752"/>
                  <a:gd name="T15" fmla="*/ 93 h 589"/>
                  <a:gd name="T16" fmla="*/ 659 w 752"/>
                  <a:gd name="T17" fmla="*/ 0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52" h="589">
                    <a:moveTo>
                      <a:pt x="659" y="0"/>
                    </a:moveTo>
                    <a:lnTo>
                      <a:pt x="258" y="402"/>
                    </a:lnTo>
                    <a:lnTo>
                      <a:pt x="92" y="237"/>
                    </a:lnTo>
                    <a:lnTo>
                      <a:pt x="0" y="330"/>
                    </a:lnTo>
                    <a:lnTo>
                      <a:pt x="165" y="496"/>
                    </a:lnTo>
                    <a:lnTo>
                      <a:pt x="164" y="496"/>
                    </a:lnTo>
                    <a:lnTo>
                      <a:pt x="257" y="589"/>
                    </a:lnTo>
                    <a:lnTo>
                      <a:pt x="752" y="93"/>
                    </a:lnTo>
                    <a:lnTo>
                      <a:pt x="659" y="0"/>
                    </a:lnTo>
                    <a:close/>
                  </a:path>
                </a:pathLst>
              </a:custGeom>
              <a:solidFill>
                <a:srgbClr val="8DC6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896214">
                  <a:defRPr/>
                </a:pPr>
                <a:endParaRPr lang="en-US" sz="1600" kern="0">
                  <a:solidFill>
                    <a:sysClr val="windowText" lastClr="000000"/>
                  </a:solidFill>
                  <a:latin typeface="+mj-lt"/>
                </a:endParaRPr>
              </a:p>
            </p:txBody>
          </p:sp>
        </p:grpSp>
      </p:grpSp>
      <p:pic>
        <p:nvPicPr>
          <p:cNvPr id="84" name="Azure" descr="https://sqlbackupandftp.com/css/images/WindowsAzure.png">
            <a:extLst>
              <a:ext uri="{FF2B5EF4-FFF2-40B4-BE49-F238E27FC236}">
                <a16:creationId xmlns:a16="http://schemas.microsoft.com/office/drawing/2014/main" id="{097BAD78-F93E-4620-AA1C-BDC2EA2A58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3148" y="4883910"/>
            <a:ext cx="1917116" cy="1917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4581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6419FE-F75B-4251-BD90-98F4BC746DC0}"/>
              </a:ext>
            </a:extLst>
          </p:cNvPr>
          <p:cNvSpPr txBox="1">
            <a:spLocks/>
          </p:cNvSpPr>
          <p:nvPr/>
        </p:nvSpPr>
        <p:spPr>
          <a:xfrm>
            <a:off x="226800" y="0"/>
            <a:ext cx="11056400" cy="89966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nl-NL" dirty="0">
              <a:latin typeface="Verdana (Headings)"/>
              <a:cs typeface="Calibri Light" panose="020F0302020204030204" pitchFamily="34" charset="0"/>
            </a:endParaRPr>
          </a:p>
          <a:p>
            <a:r>
              <a:rPr lang="nl-NL" dirty="0" err="1">
                <a:latin typeface="Verdana (Headings)"/>
                <a:cs typeface="Calibri Light" panose="020F0302020204030204" pitchFamily="34" charset="0"/>
              </a:rPr>
              <a:t>Everything</a:t>
            </a:r>
            <a:r>
              <a:rPr lang="nl-NL" dirty="0">
                <a:latin typeface="Verdana (Headings)"/>
                <a:cs typeface="Calibri Light" panose="020F0302020204030204" pitchFamily="34" charset="0"/>
              </a:rPr>
              <a:t> as Code</a:t>
            </a:r>
          </a:p>
        </p:txBody>
      </p:sp>
      <p:sp>
        <p:nvSpPr>
          <p:cNvPr id="105" name="Tijdelijke aanduiding voor tekst 6">
            <a:extLst>
              <a:ext uri="{FF2B5EF4-FFF2-40B4-BE49-F238E27FC236}">
                <a16:creationId xmlns:a16="http://schemas.microsoft.com/office/drawing/2014/main" id="{037C1677-E4C2-4B1F-B60F-466A281A22A0}"/>
              </a:ext>
            </a:extLst>
          </p:cNvPr>
          <p:cNvSpPr txBox="1">
            <a:spLocks/>
          </p:cNvSpPr>
          <p:nvPr/>
        </p:nvSpPr>
        <p:spPr>
          <a:xfrm>
            <a:off x="6437002" y="1268760"/>
            <a:ext cx="5168401" cy="51845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Consolas" panose="020B0609020204030204" pitchFamily="49" charset="0"/>
              </a:rPr>
              <a:t>"resources": [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{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</a:t>
            </a:r>
            <a:r>
              <a:rPr lang="en-US" sz="1600" dirty="0" err="1">
                <a:latin typeface="Consolas" panose="020B0609020204030204" pitchFamily="49" charset="0"/>
              </a:rPr>
              <a:t>apiVersion</a:t>
            </a:r>
            <a:r>
              <a:rPr lang="en-US" sz="1600" dirty="0">
                <a:latin typeface="Consolas" panose="020B0609020204030204" pitchFamily="49" charset="0"/>
              </a:rPr>
              <a:t>": "2016-01-01",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type": "</a:t>
            </a:r>
            <a:r>
              <a:rPr lang="en-US" sz="1600" dirty="0" err="1">
                <a:latin typeface="Consolas" panose="020B0609020204030204" pitchFamily="49" charset="0"/>
              </a:rPr>
              <a:t>Microsoft.Storage</a:t>
            </a:r>
            <a:r>
              <a:rPr lang="en-US" sz="1600" dirty="0">
                <a:latin typeface="Consolas" panose="020B0609020204030204" pitchFamily="49" charset="0"/>
              </a:rPr>
              <a:t>/</a:t>
            </a:r>
            <a:r>
              <a:rPr lang="en-US" sz="1600" dirty="0" err="1">
                <a:latin typeface="Consolas" panose="020B0609020204030204" pitchFamily="49" charset="0"/>
              </a:rPr>
              <a:t>storageAccounts</a:t>
            </a:r>
            <a:r>
              <a:rPr lang="en-US" sz="1600" dirty="0">
                <a:latin typeface="Consolas" panose="020B0609020204030204" pitchFamily="49" charset="0"/>
              </a:rPr>
              <a:t>",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name": "</a:t>
            </a:r>
            <a:r>
              <a:rPr lang="en-US" sz="1600" dirty="0" err="1">
                <a:latin typeface="Consolas" panose="020B0609020204030204" pitchFamily="49" charset="0"/>
              </a:rPr>
              <a:t>mystorageaccount</a:t>
            </a:r>
            <a:r>
              <a:rPr lang="en-US" sz="1600" dirty="0">
                <a:latin typeface="Consolas" panose="020B0609020204030204" pitchFamily="49" charset="0"/>
              </a:rPr>
              <a:t>",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location": "</a:t>
            </a:r>
            <a:r>
              <a:rPr lang="en-US" sz="1600" dirty="0" err="1">
                <a:latin typeface="Consolas" panose="020B0609020204030204" pitchFamily="49" charset="0"/>
              </a:rPr>
              <a:t>westus</a:t>
            </a:r>
            <a:r>
              <a:rPr lang="en-US" sz="1600" dirty="0">
                <a:latin typeface="Consolas" panose="020B0609020204030204" pitchFamily="49" charset="0"/>
              </a:rPr>
              <a:t>",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</a:t>
            </a:r>
            <a:r>
              <a:rPr lang="en-US" sz="1600" dirty="0" err="1">
                <a:latin typeface="Consolas" panose="020B0609020204030204" pitchFamily="49" charset="0"/>
              </a:rPr>
              <a:t>sku</a:t>
            </a:r>
            <a:r>
              <a:rPr lang="en-US" sz="1600" dirty="0">
                <a:latin typeface="Consolas" panose="020B0609020204030204" pitchFamily="49" charset="0"/>
              </a:rPr>
              <a:t>": {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  "name": "</a:t>
            </a:r>
            <a:r>
              <a:rPr lang="en-US" sz="1600" dirty="0" err="1">
                <a:latin typeface="Consolas" panose="020B0609020204030204" pitchFamily="49" charset="0"/>
              </a:rPr>
              <a:t>Standard_LRS</a:t>
            </a:r>
            <a:r>
              <a:rPr lang="en-US" sz="1600" dirty="0">
                <a:latin typeface="Consolas" panose="020B0609020204030204" pitchFamily="49" charset="0"/>
              </a:rPr>
              <a:t>"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},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kind": "Storage",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"properties": {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  }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  }</a:t>
            </a:r>
          </a:p>
          <a:p>
            <a:r>
              <a:rPr lang="en-US" sz="1600" dirty="0">
                <a:latin typeface="Consolas" panose="020B0609020204030204" pitchFamily="49" charset="0"/>
              </a:rPr>
              <a:t>]</a:t>
            </a:r>
            <a:endParaRPr lang="nl-NL" sz="1400" dirty="0"/>
          </a:p>
        </p:txBody>
      </p:sp>
      <p:pic>
        <p:nvPicPr>
          <p:cNvPr id="12290" name="Picture 2" descr="Resource Manager request model">
            <a:extLst>
              <a:ext uri="{FF2B5EF4-FFF2-40B4-BE49-F238E27FC236}">
                <a16:creationId xmlns:a16="http://schemas.microsoft.com/office/drawing/2014/main" id="{39F9A811-A5ED-4502-AB41-34E8387BF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50" y="1314873"/>
            <a:ext cx="542925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32448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74F0EB5-4295-407F-8F51-4CE6B47C2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8D7EAFD-3046-4FE6-8563-9B75FC82C8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384"/>
            <a:ext cx="12192000" cy="637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6316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C7C78B3-80EC-4A6D-A3B8-5FC127074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Desired State Configuration</a:t>
            </a:r>
            <a:br>
              <a:rPr lang="en-US" dirty="0"/>
            </a:br>
            <a:endParaRPr lang="nl-NL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2027687-C6D2-487A-A31E-EB867F5270E7}"/>
              </a:ext>
            </a:extLst>
          </p:cNvPr>
          <p:cNvSpPr txBox="1">
            <a:spLocks/>
          </p:cNvSpPr>
          <p:nvPr/>
        </p:nvSpPr>
        <p:spPr>
          <a:xfrm>
            <a:off x="6074221" y="2417142"/>
            <a:ext cx="5749972" cy="2422620"/>
          </a:xfrm>
          <a:prstGeom prst="rect">
            <a:avLst/>
          </a:prstGeom>
          <a:solidFill>
            <a:schemeClr val="accent1"/>
          </a:solidFill>
          <a:ln w="10795" cap="flat" cmpd="sng" algn="ctr">
            <a:solidFill>
              <a:srgbClr val="5C2D91">
                <a:shade val="50000"/>
              </a:srgbClr>
            </a:solidFill>
            <a:prstDash val="solid"/>
          </a:ln>
          <a:effectLst/>
        </p:spPr>
        <p:txBody>
          <a:bodyPr vert="horz" wrap="square" lIns="182880" tIns="146304" rIns="182880" bIns="146304" rtlCol="0" anchor="ctr">
            <a:noAutofit/>
          </a:bodyPr>
          <a:lstStyle>
            <a:lvl1pPr marL="342900" marR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40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00" marR="0" lvl="0" indent="-29210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Enable management of (virtual) machines</a:t>
            </a:r>
          </a:p>
          <a:p>
            <a:pPr marL="292100" marR="0" lvl="0" indent="-29210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Pull or push model</a:t>
            </a:r>
          </a:p>
          <a:p>
            <a:pPr marL="292100" marR="0" lvl="0" indent="-29210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4151">
                      <a:srgbClr val="FFFFFF"/>
                    </a:gs>
                    <a:gs pos="24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</a:rPr>
              <a:t>Detect configuration drift</a:t>
            </a:r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FA378910-C0CF-46B5-828C-915356954F4C}"/>
              </a:ext>
            </a:extLst>
          </p:cNvPr>
          <p:cNvSpPr txBox="1">
            <a:spLocks/>
          </p:cNvSpPr>
          <p:nvPr/>
        </p:nvSpPr>
        <p:spPr>
          <a:xfrm>
            <a:off x="224221" y="1052736"/>
            <a:ext cx="11700000" cy="44662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4445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6223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Verdana" panose="020B0604030504040204" pitchFamily="34" charset="0"/>
              <a:buChar char="‒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12800" indent="-190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Configuration </a:t>
            </a:r>
            <a:r>
              <a:rPr lang="en-US" sz="1400" dirty="0" err="1">
                <a:latin typeface="Consolas" panose="020B0609020204030204" pitchFamily="49" charset="0"/>
              </a:rPr>
              <a:t>ContosoWebsite</a:t>
            </a:r>
            <a:r>
              <a:rPr lang="en-US" sz="1400" dirty="0">
                <a:latin typeface="Consolas" panose="020B0609020204030204" pitchFamily="49" charset="0"/>
              </a:rPr>
              <a:t>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{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param ($</a:t>
            </a:r>
            <a:r>
              <a:rPr lang="en-US" sz="1400" dirty="0" err="1">
                <a:latin typeface="Consolas" panose="020B0609020204030204" pitchFamily="49" charset="0"/>
              </a:rPr>
              <a:t>MachineName</a:t>
            </a:r>
            <a:r>
              <a:rPr lang="en-US" sz="1400" dirty="0">
                <a:latin typeface="Consolas" panose="020B0609020204030204" pitchFamily="49" charset="0"/>
              </a:rPr>
              <a:t>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en-US" sz="1400" dirty="0">
              <a:latin typeface="Consolas" panose="020B0609020204030204" pitchFamily="49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Node $</a:t>
            </a:r>
            <a:r>
              <a:rPr lang="en-US" sz="1400" dirty="0" err="1">
                <a:latin typeface="Consolas" panose="020B0609020204030204" pitchFamily="49" charset="0"/>
              </a:rPr>
              <a:t>MachineName</a:t>
            </a:r>
            <a:r>
              <a:rPr lang="en-US" sz="1400" dirty="0">
                <a:latin typeface="Consolas" panose="020B0609020204030204" pitchFamily="49" charset="0"/>
              </a:rPr>
              <a:t>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{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#Install the IIS Role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</a:t>
            </a:r>
            <a:r>
              <a:rPr lang="en-US" sz="1400" dirty="0" err="1">
                <a:latin typeface="Consolas" panose="020B0609020204030204" pitchFamily="49" charset="0"/>
              </a:rPr>
              <a:t>WindowsFeature</a:t>
            </a:r>
            <a:r>
              <a:rPr lang="en-US" sz="1400" dirty="0">
                <a:latin typeface="Consolas" panose="020B0609020204030204" pitchFamily="49" charset="0"/>
              </a:rPr>
              <a:t> IIS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{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  Ensure = “Present”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  Name = “Web-Server”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}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#Install ASP.NET 4.5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</a:t>
            </a:r>
            <a:r>
              <a:rPr lang="en-US" sz="1400" dirty="0" err="1">
                <a:latin typeface="Consolas" panose="020B0609020204030204" pitchFamily="49" charset="0"/>
              </a:rPr>
              <a:t>WindowsFeature</a:t>
            </a:r>
            <a:r>
              <a:rPr lang="en-US" sz="1400" dirty="0">
                <a:latin typeface="Consolas" panose="020B0609020204030204" pitchFamily="49" charset="0"/>
              </a:rPr>
              <a:t> ASP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{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  Ensure = “Present”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  Name = “Web-Asp-Net45”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  }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  }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dirty="0">
                <a:latin typeface="Consolas" panose="020B0609020204030204" pitchFamily="49" charset="0"/>
              </a:rPr>
              <a:t>}</a:t>
            </a:r>
          </a:p>
          <a:p>
            <a:endParaRPr lang="nl-NL" sz="1400" dirty="0"/>
          </a:p>
        </p:txBody>
      </p:sp>
    </p:spTree>
    <p:extLst>
      <p:ext uri="{BB962C8B-B14F-4D97-AF65-F5344CB8AC3E}">
        <p14:creationId xmlns:p14="http://schemas.microsoft.com/office/powerpoint/2010/main" val="26896794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992BF-8923-4BA7-8CBC-59F7AF72F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00" y="0"/>
            <a:ext cx="11655840" cy="899665"/>
          </a:xfrm>
        </p:spPr>
        <p:txBody>
          <a:bodyPr/>
          <a:lstStyle/>
          <a:p>
            <a:br>
              <a:rPr lang="en-AU" sz="3000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AU" sz="3000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o secrets in code: Azure Key Vault</a:t>
            </a:r>
            <a:endParaRPr lang="en-US" sz="3000" dirty="0">
              <a:solidFill>
                <a:srgbClr val="0070A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BF2E55-AEEF-4151-A59C-2F28F4C900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9494"/>
            <a:ext cx="4959906" cy="5325817"/>
          </a:xfrm>
        </p:spPr>
        <p:txBody>
          <a:bodyPr/>
          <a:lstStyle/>
          <a:p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All secrets must be stored in AKV:</a:t>
            </a:r>
          </a:p>
          <a:p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  Passwords, keys, tokens</a:t>
            </a:r>
          </a:p>
          <a:p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  Storage Account keys</a:t>
            </a:r>
          </a:p>
          <a:p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  Certificates</a:t>
            </a:r>
          </a:p>
          <a:p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  Credentials used in Test too</a:t>
            </a:r>
          </a:p>
          <a:p>
            <a:endParaRPr lang="en-US" sz="2353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Hierarchy of vaults</a:t>
            </a:r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 to eliminate duplication of secrets.</a:t>
            </a:r>
          </a:p>
          <a:p>
            <a:endParaRPr lang="en-AU" sz="2353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AU" sz="2353" dirty="0">
                <a:gradFill>
                  <a:gsLst>
                    <a:gs pos="125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latin typeface="Verdana" panose="020B0604030504040204" pitchFamily="34" charset="0"/>
                <a:ea typeface="Verdana" panose="020B0604030504040204" pitchFamily="34" charset="0"/>
              </a:rPr>
              <a:t>Vaults available at run-time so that secret changes propagate instantly.</a:t>
            </a:r>
            <a:endParaRPr lang="en-US" sz="2353" dirty="0">
              <a:gradFill>
                <a:gsLst>
                  <a:gs pos="125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7601A58-A356-42C8-8B5B-594B8202D8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8991734"/>
              </p:ext>
            </p:extLst>
          </p:nvPr>
        </p:nvGraphicFramePr>
        <p:xfrm>
          <a:off x="5229145" y="1360064"/>
          <a:ext cx="6782948" cy="5207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228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EE635A0-58B5-40A0-88B2-F8AC7E8EB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Managed </a:t>
            </a:r>
            <a:r>
              <a:rPr lang="en-US" dirty="0" err="1"/>
              <a:t>Identies</a:t>
            </a:r>
            <a:br>
              <a:rPr lang="en-US" dirty="0"/>
            </a:br>
            <a:endParaRPr lang="nl-NL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0DC312-764F-49F8-B6AD-E835B6136F08}"/>
              </a:ext>
            </a:extLst>
          </p:cNvPr>
          <p:cNvSpPr/>
          <p:nvPr/>
        </p:nvSpPr>
        <p:spPr>
          <a:xfrm>
            <a:off x="216784" y="1104900"/>
            <a:ext cx="1163985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000" dirty="0" err="1">
                <a:latin typeface="Consolas" panose="020B0609020204030204" pitchFamily="49" charset="0"/>
              </a:rPr>
              <a:t>using</a:t>
            </a:r>
            <a:r>
              <a:rPr lang="nl-NL" sz="2000" dirty="0">
                <a:latin typeface="Consolas" panose="020B0609020204030204" pitchFamily="49" charset="0"/>
              </a:rPr>
              <a:t> </a:t>
            </a:r>
            <a:r>
              <a:rPr lang="nl-NL" sz="2000" dirty="0" err="1">
                <a:latin typeface="Consolas" panose="020B0609020204030204" pitchFamily="49" charset="0"/>
              </a:rPr>
              <a:t>Microsoft.Azure.Services.AppAuthentication</a:t>
            </a:r>
            <a:r>
              <a:rPr lang="nl-NL" sz="2000" dirty="0">
                <a:latin typeface="Consolas" panose="020B0609020204030204" pitchFamily="49" charset="0"/>
              </a:rPr>
              <a:t>;</a:t>
            </a:r>
          </a:p>
          <a:p>
            <a:r>
              <a:rPr lang="nl-NL" sz="2000" dirty="0" err="1">
                <a:latin typeface="Consolas" panose="020B0609020204030204" pitchFamily="49" charset="0"/>
              </a:rPr>
              <a:t>using</a:t>
            </a:r>
            <a:r>
              <a:rPr lang="nl-NL" sz="2000" dirty="0">
                <a:latin typeface="Consolas" panose="020B0609020204030204" pitchFamily="49" charset="0"/>
              </a:rPr>
              <a:t> </a:t>
            </a:r>
            <a:r>
              <a:rPr lang="nl-NL" sz="2000" dirty="0" err="1">
                <a:latin typeface="Consolas" panose="020B0609020204030204" pitchFamily="49" charset="0"/>
              </a:rPr>
              <a:t>Microsoft.Azure.KeyVault</a:t>
            </a:r>
            <a:r>
              <a:rPr lang="nl-NL" sz="2000" dirty="0">
                <a:latin typeface="Consolas" panose="020B0609020204030204" pitchFamily="49" charset="0"/>
              </a:rPr>
              <a:t>;</a:t>
            </a:r>
          </a:p>
          <a:p>
            <a:endParaRPr lang="nl-NL" sz="2000" dirty="0">
              <a:latin typeface="Consolas" panose="020B0609020204030204" pitchFamily="49" charset="0"/>
            </a:endParaRPr>
          </a:p>
          <a:p>
            <a:r>
              <a:rPr lang="nl-NL" sz="2000" dirty="0">
                <a:latin typeface="Consolas" panose="020B0609020204030204" pitchFamily="49" charset="0"/>
              </a:rPr>
              <a:t>// ...</a:t>
            </a:r>
          </a:p>
          <a:p>
            <a:r>
              <a:rPr lang="nl-NL" sz="2000" dirty="0">
                <a:latin typeface="Consolas" panose="020B0609020204030204" pitchFamily="49" charset="0"/>
              </a:rPr>
              <a:t>var </a:t>
            </a:r>
            <a:r>
              <a:rPr lang="nl-NL" sz="2000" dirty="0" err="1">
                <a:latin typeface="Consolas" panose="020B0609020204030204" pitchFamily="49" charset="0"/>
              </a:rPr>
              <a:t>azureServiceTokenProvider</a:t>
            </a:r>
            <a:r>
              <a:rPr lang="nl-NL" sz="2000" dirty="0">
                <a:latin typeface="Consolas" panose="020B0609020204030204" pitchFamily="49" charset="0"/>
              </a:rPr>
              <a:t> = new </a:t>
            </a:r>
            <a:r>
              <a:rPr lang="nl-NL" sz="2000" dirty="0" err="1">
                <a:latin typeface="Consolas" panose="020B0609020204030204" pitchFamily="49" charset="0"/>
              </a:rPr>
              <a:t>AzureServiceTokenProvider</a:t>
            </a:r>
            <a:r>
              <a:rPr lang="nl-NL" sz="2000" dirty="0">
                <a:latin typeface="Consolas" panose="020B0609020204030204" pitchFamily="49" charset="0"/>
              </a:rPr>
              <a:t>();</a:t>
            </a:r>
          </a:p>
          <a:p>
            <a:r>
              <a:rPr lang="nl-NL" sz="2000" dirty="0">
                <a:latin typeface="Consolas" panose="020B0609020204030204" pitchFamily="49" charset="0"/>
              </a:rPr>
              <a:t>string </a:t>
            </a:r>
            <a:r>
              <a:rPr lang="nl-NL" sz="2000" dirty="0" err="1">
                <a:latin typeface="Consolas" panose="020B0609020204030204" pitchFamily="49" charset="0"/>
              </a:rPr>
              <a:t>accessToken</a:t>
            </a:r>
            <a:r>
              <a:rPr lang="nl-NL" sz="2000" dirty="0">
                <a:latin typeface="Consolas" panose="020B0609020204030204" pitchFamily="49" charset="0"/>
              </a:rPr>
              <a:t> = </a:t>
            </a:r>
            <a:r>
              <a:rPr lang="nl-NL" sz="2000" dirty="0" err="1">
                <a:latin typeface="Consolas" panose="020B0609020204030204" pitchFamily="49" charset="0"/>
              </a:rPr>
              <a:t>await</a:t>
            </a:r>
            <a:r>
              <a:rPr lang="nl-NL" sz="2000" dirty="0">
                <a:latin typeface="Consolas" panose="020B0609020204030204" pitchFamily="49" charset="0"/>
              </a:rPr>
              <a:t> </a:t>
            </a:r>
            <a:r>
              <a:rPr lang="nl-NL" sz="2000" dirty="0" err="1">
                <a:latin typeface="Consolas" panose="020B0609020204030204" pitchFamily="49" charset="0"/>
              </a:rPr>
              <a:t>azureServiceTokenProvider.GetAccessTokenAsync</a:t>
            </a:r>
            <a:r>
              <a:rPr lang="nl-NL" sz="2000" dirty="0">
                <a:latin typeface="Consolas" panose="020B0609020204030204" pitchFamily="49" charset="0"/>
              </a:rPr>
              <a:t>("https://vault.azure.net");</a:t>
            </a:r>
          </a:p>
        </p:txBody>
      </p:sp>
    </p:spTree>
    <p:extLst>
      <p:ext uri="{BB962C8B-B14F-4D97-AF65-F5344CB8AC3E}">
        <p14:creationId xmlns:p14="http://schemas.microsoft.com/office/powerpoint/2010/main" val="21218185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239F7C18-6C5B-4515-AC23-133DEB5A47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ow real is the threat?</a:t>
            </a:r>
          </a:p>
          <a:p>
            <a:r>
              <a:rPr lang="en-US" dirty="0"/>
              <a:t>Our team is good, right?</a:t>
            </a:r>
          </a:p>
          <a:p>
            <a:r>
              <a:rPr lang="en-US" dirty="0"/>
              <a:t>I don’t think that’s possible.</a:t>
            </a:r>
          </a:p>
          <a:p>
            <a:r>
              <a:rPr lang="en-US" dirty="0"/>
              <a:t>We’ve never been breached.</a:t>
            </a:r>
          </a:p>
          <a:p>
            <a:r>
              <a:rPr lang="en-US" dirty="0"/>
              <a:t>Endless debates about value</a:t>
            </a:r>
          </a:p>
          <a:p>
            <a:endParaRPr lang="en-US" dirty="0"/>
          </a:p>
          <a:p>
            <a:r>
              <a:rPr lang="en-US" dirty="0"/>
              <a:t>Let’s talk about how we change the conversation…</a:t>
            </a:r>
          </a:p>
          <a:p>
            <a:endParaRPr lang="nl-NL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6F7C461-97DC-489F-B47A-FB0901482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The Security Conversation</a:t>
            </a:r>
            <a:br>
              <a:rPr lang="nl-NL" dirty="0"/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836182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1522D-8CBA-4CA3-95AA-CA82B1424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ing</a:t>
            </a:r>
            <a:endParaRPr lang="nl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379C30-3D91-4FCB-9933-AC81212D08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Virtual Networks</a:t>
            </a:r>
          </a:p>
          <a:p>
            <a:r>
              <a:rPr lang="en-US" dirty="0"/>
              <a:t>Avoid Public IPs</a:t>
            </a:r>
          </a:p>
          <a:p>
            <a:r>
              <a:rPr lang="nl-NL" dirty="0"/>
              <a:t>Azure Front Door </a:t>
            </a:r>
            <a:r>
              <a:rPr lang="nl-NL" dirty="0" err="1"/>
              <a:t>with</a:t>
            </a:r>
            <a:r>
              <a:rPr lang="nl-NL" dirty="0"/>
              <a:t> Web Application Firewall</a:t>
            </a:r>
          </a:p>
        </p:txBody>
      </p:sp>
    </p:spTree>
    <p:extLst>
      <p:ext uri="{BB962C8B-B14F-4D97-AF65-F5344CB8AC3E}">
        <p14:creationId xmlns:p14="http://schemas.microsoft.com/office/powerpoint/2010/main" val="37084708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9" y="2084172"/>
            <a:ext cx="11653523" cy="1162178"/>
          </a:xfrm>
        </p:spPr>
        <p:txBody>
          <a:bodyPr/>
          <a:lstStyle/>
          <a:p>
            <a:r>
              <a:rPr lang="en-US" dirty="0"/>
              <a:t>Assume breach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3603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0215204-7803-49C3-8A56-BC0470F902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764704"/>
            <a:ext cx="11352585" cy="5625898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C0C71A8-0919-4A8D-B331-311D30EFD664}"/>
              </a:ext>
            </a:extLst>
          </p:cNvPr>
          <p:cNvSpPr txBox="1">
            <a:spLocks/>
          </p:cNvSpPr>
          <p:nvPr/>
        </p:nvSpPr>
        <p:spPr>
          <a:xfrm>
            <a:off x="335360" y="212254"/>
            <a:ext cx="11125236" cy="11049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Azure Security Center</a:t>
            </a:r>
          </a:p>
        </p:txBody>
      </p:sp>
    </p:spTree>
    <p:extLst>
      <p:ext uri="{BB962C8B-B14F-4D97-AF65-F5344CB8AC3E}">
        <p14:creationId xmlns:p14="http://schemas.microsoft.com/office/powerpoint/2010/main" val="23142297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09C5E96-B4B9-42C4-9280-878D86FEEE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836712"/>
            <a:ext cx="11208568" cy="5555762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F628FC08-FDDA-4CF1-A067-492729803188}"/>
              </a:ext>
            </a:extLst>
          </p:cNvPr>
          <p:cNvSpPr txBox="1">
            <a:spLocks/>
          </p:cNvSpPr>
          <p:nvPr/>
        </p:nvSpPr>
        <p:spPr>
          <a:xfrm>
            <a:off x="335360" y="212254"/>
            <a:ext cx="11125236" cy="11049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Azure Policy</a:t>
            </a:r>
          </a:p>
        </p:txBody>
      </p:sp>
    </p:spTree>
    <p:extLst>
      <p:ext uri="{BB962C8B-B14F-4D97-AF65-F5344CB8AC3E}">
        <p14:creationId xmlns:p14="http://schemas.microsoft.com/office/powerpoint/2010/main" val="34198245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Azure Sentinel overview">
            <a:extLst>
              <a:ext uri="{FF2B5EF4-FFF2-40B4-BE49-F238E27FC236}">
                <a16:creationId xmlns:a16="http://schemas.microsoft.com/office/drawing/2014/main" id="{F4935C7B-D658-4DE2-B353-0BEC5E23D2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44" y="836712"/>
            <a:ext cx="11064552" cy="5618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06E10F4F-169D-4AE1-8F88-20B05137D9C1}"/>
              </a:ext>
            </a:extLst>
          </p:cNvPr>
          <p:cNvSpPr txBox="1">
            <a:spLocks/>
          </p:cNvSpPr>
          <p:nvPr/>
        </p:nvSpPr>
        <p:spPr>
          <a:xfrm>
            <a:off x="335360" y="212254"/>
            <a:ext cx="11125236" cy="11049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/>
              <a:t>Azure </a:t>
            </a:r>
            <a:r>
              <a:rPr lang="nl-NL" dirty="0" err="1"/>
              <a:t>Sentin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997991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7630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itHub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1975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EDF8CD3-C83A-42C4-94C7-DC019DC2F3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kern="0" dirty="0">
                <a:ea typeface="Raleway"/>
                <a:cs typeface="Raleway"/>
                <a:sym typeface="Raleway"/>
              </a:rPr>
            </a:br>
            <a:r>
              <a:rPr lang="en-US" kern="0" dirty="0">
                <a:ea typeface="Raleway"/>
                <a:cs typeface="Raleway"/>
                <a:sym typeface="Raleway"/>
              </a:rPr>
              <a:t>Software Composition Analysis</a:t>
            </a:r>
            <a:br>
              <a:rPr lang="en-US" kern="0" dirty="0">
                <a:ea typeface="Raleway"/>
                <a:cs typeface="Raleway"/>
                <a:sym typeface="Raleway"/>
              </a:rPr>
            </a:br>
            <a:endParaRPr lang="nl-NL" dirty="0"/>
          </a:p>
        </p:txBody>
      </p:sp>
      <p:sp>
        <p:nvSpPr>
          <p:cNvPr id="6" name="Shape 188">
            <a:extLst>
              <a:ext uri="{FF2B5EF4-FFF2-40B4-BE49-F238E27FC236}">
                <a16:creationId xmlns:a16="http://schemas.microsoft.com/office/drawing/2014/main" id="{1BF0FDB7-F1CC-45FB-93FB-56924518C754}"/>
              </a:ext>
            </a:extLst>
          </p:cNvPr>
          <p:cNvSpPr/>
          <p:nvPr/>
        </p:nvSpPr>
        <p:spPr>
          <a:xfrm rot="16200000">
            <a:off x="1276658" y="2809516"/>
            <a:ext cx="2270314" cy="2362106"/>
          </a:xfrm>
          <a:prstGeom prst="cube">
            <a:avLst>
              <a:gd name="adj" fmla="val 13494"/>
            </a:avLst>
          </a:prstGeom>
          <a:solidFill>
            <a:srgbClr val="EEBF31"/>
          </a:solidFill>
          <a:ln w="9525" cap="flat" cmpd="sng">
            <a:solidFill>
              <a:srgbClr val="7F6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3245" tIns="93245" rIns="93245" bIns="93245" anchor="ctr" anchorCtr="0">
            <a:noAutofit/>
          </a:bodyPr>
          <a:lstStyle/>
          <a:p>
            <a:pPr defTabSz="932597"/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hape 189">
            <a:extLst>
              <a:ext uri="{FF2B5EF4-FFF2-40B4-BE49-F238E27FC236}">
                <a16:creationId xmlns:a16="http://schemas.microsoft.com/office/drawing/2014/main" id="{2E49168A-2191-4C81-BB50-A2FC98C073AB}"/>
              </a:ext>
            </a:extLst>
          </p:cNvPr>
          <p:cNvSpPr txBox="1"/>
          <p:nvPr/>
        </p:nvSpPr>
        <p:spPr>
          <a:xfrm>
            <a:off x="1612668" y="3762713"/>
            <a:ext cx="1862759" cy="593892"/>
          </a:xfrm>
          <a:prstGeom prst="rect">
            <a:avLst/>
          </a:prstGeom>
          <a:noFill/>
          <a:ln>
            <a:noFill/>
          </a:ln>
        </p:spPr>
        <p:txBody>
          <a:bodyPr wrap="square" lIns="93245" tIns="93245" rIns="93245" bIns="93245" anchor="t" anchorCtr="0">
            <a:noAutofit/>
          </a:bodyPr>
          <a:lstStyle/>
          <a:p>
            <a:pPr algn="ctr" defTabSz="932597">
              <a:buClr>
                <a:srgbClr val="000000"/>
              </a:buClr>
              <a:buSzPct val="45833"/>
            </a:pPr>
            <a:r>
              <a:rPr lang="en-US" sz="2000" kern="0" dirty="0">
                <a:latin typeface="+mj-lt"/>
                <a:ea typeface="Raleway"/>
                <a:cs typeface="Raleway"/>
                <a:sym typeface="Raleway"/>
              </a:rPr>
              <a:t>Proprietary</a:t>
            </a:r>
          </a:p>
          <a:p>
            <a:pPr algn="ctr" defTabSz="932597">
              <a:buClr>
                <a:srgbClr val="000000"/>
              </a:buClr>
              <a:buSzPct val="45833"/>
            </a:pPr>
            <a:r>
              <a:rPr lang="en-US" sz="2000" kern="0" dirty="0">
                <a:latin typeface="+mj-lt"/>
                <a:ea typeface="Raleway"/>
                <a:cs typeface="Raleway"/>
                <a:sym typeface="Raleway"/>
              </a:rPr>
              <a:t>10%-20%</a:t>
            </a:r>
          </a:p>
        </p:txBody>
      </p:sp>
      <p:sp>
        <p:nvSpPr>
          <p:cNvPr id="8" name="Shape 190">
            <a:extLst>
              <a:ext uri="{FF2B5EF4-FFF2-40B4-BE49-F238E27FC236}">
                <a16:creationId xmlns:a16="http://schemas.microsoft.com/office/drawing/2014/main" id="{D5016F65-BF38-4541-95C9-C808FE6C3BD3}"/>
              </a:ext>
            </a:extLst>
          </p:cNvPr>
          <p:cNvSpPr/>
          <p:nvPr/>
        </p:nvSpPr>
        <p:spPr>
          <a:xfrm rot="16200000">
            <a:off x="4617263" y="2876218"/>
            <a:ext cx="2204836" cy="2294180"/>
          </a:xfrm>
          <a:prstGeom prst="cube">
            <a:avLst>
              <a:gd name="adj" fmla="val 13494"/>
            </a:avLst>
          </a:prstGeom>
          <a:solidFill>
            <a:srgbClr val="E06666"/>
          </a:solidFill>
          <a:ln w="9525" cap="flat" cmpd="sng">
            <a:solidFill>
              <a:srgbClr val="66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3245" tIns="93245" rIns="93245" bIns="93245" anchor="ctr" anchorCtr="0">
            <a:noAutofit/>
          </a:bodyPr>
          <a:lstStyle/>
          <a:p>
            <a:pPr defTabSz="932597"/>
            <a:endParaRPr sz="1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191">
            <a:extLst>
              <a:ext uri="{FF2B5EF4-FFF2-40B4-BE49-F238E27FC236}">
                <a16:creationId xmlns:a16="http://schemas.microsoft.com/office/drawing/2014/main" id="{7928ED16-5775-41B8-AFF9-15F6856BDA68}"/>
              </a:ext>
            </a:extLst>
          </p:cNvPr>
          <p:cNvSpPr txBox="1"/>
          <p:nvPr/>
        </p:nvSpPr>
        <p:spPr>
          <a:xfrm>
            <a:off x="4721437" y="3801969"/>
            <a:ext cx="2213403" cy="576758"/>
          </a:xfrm>
          <a:prstGeom prst="rect">
            <a:avLst/>
          </a:prstGeom>
          <a:noFill/>
          <a:ln>
            <a:noFill/>
          </a:ln>
        </p:spPr>
        <p:txBody>
          <a:bodyPr wrap="square" lIns="93245" tIns="93245" rIns="93245" bIns="93245" anchor="t" anchorCtr="0">
            <a:noAutofit/>
          </a:bodyPr>
          <a:lstStyle/>
          <a:p>
            <a:pPr algn="ctr" defTabSz="932597">
              <a:buClr>
                <a:srgbClr val="000000"/>
              </a:buClr>
              <a:buSzPct val="45833"/>
            </a:pPr>
            <a:r>
              <a:rPr lang="en-US" sz="2000" kern="0" dirty="0">
                <a:latin typeface="+mj-lt"/>
                <a:ea typeface="Raleway"/>
                <a:cs typeface="Raleway"/>
                <a:sym typeface="Raleway"/>
              </a:rPr>
              <a:t>Commercial</a:t>
            </a:r>
          </a:p>
          <a:p>
            <a:pPr algn="ctr" defTabSz="932597">
              <a:buClr>
                <a:srgbClr val="000000"/>
              </a:buClr>
              <a:buSzPct val="45833"/>
            </a:pPr>
            <a:r>
              <a:rPr lang="en-US" sz="2000" kern="0" dirty="0">
                <a:latin typeface="+mj-lt"/>
                <a:ea typeface="Raleway"/>
                <a:cs typeface="Raleway"/>
                <a:sym typeface="Raleway"/>
              </a:rPr>
              <a:t>10-20%</a:t>
            </a:r>
          </a:p>
        </p:txBody>
      </p:sp>
      <p:grpSp>
        <p:nvGrpSpPr>
          <p:cNvPr id="10" name="Shape 192">
            <a:extLst>
              <a:ext uri="{FF2B5EF4-FFF2-40B4-BE49-F238E27FC236}">
                <a16:creationId xmlns:a16="http://schemas.microsoft.com/office/drawing/2014/main" id="{385379E7-799A-4B08-A560-AC2422A50D47}"/>
              </a:ext>
            </a:extLst>
          </p:cNvPr>
          <p:cNvGrpSpPr/>
          <p:nvPr/>
        </p:nvGrpSpPr>
        <p:grpSpPr>
          <a:xfrm>
            <a:off x="7710297" y="1844824"/>
            <a:ext cx="3755788" cy="3609622"/>
            <a:chOff x="7759073" y="2593700"/>
            <a:chExt cx="2782800" cy="2674500"/>
          </a:xfrm>
        </p:grpSpPr>
        <p:sp>
          <p:nvSpPr>
            <p:cNvPr id="11" name="Shape 193">
              <a:extLst>
                <a:ext uri="{FF2B5EF4-FFF2-40B4-BE49-F238E27FC236}">
                  <a16:creationId xmlns:a16="http://schemas.microsoft.com/office/drawing/2014/main" id="{868A999A-42AC-4B77-B7E4-11B8C34AEC1B}"/>
                </a:ext>
              </a:extLst>
            </p:cNvPr>
            <p:cNvSpPr/>
            <p:nvPr/>
          </p:nvSpPr>
          <p:spPr>
            <a:xfrm rot="-5400000">
              <a:off x="7813223" y="2539550"/>
              <a:ext cx="2674500" cy="2782800"/>
            </a:xfrm>
            <a:prstGeom prst="cube">
              <a:avLst>
                <a:gd name="adj" fmla="val 13494"/>
              </a:avLst>
            </a:prstGeom>
            <a:solidFill>
              <a:srgbClr val="637AC7"/>
            </a:solidFill>
            <a:ln w="9525" cap="flat" cmpd="sng">
              <a:solidFill>
                <a:srgbClr val="07376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square" lIns="93245" tIns="93245" rIns="93245" bIns="93245" anchor="ctr" anchorCtr="0">
              <a:noAutofit/>
            </a:bodyPr>
            <a:lstStyle/>
            <a:p>
              <a:pPr defTabSz="932597"/>
              <a:endParaRPr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Shape 194">
              <a:extLst>
                <a:ext uri="{FF2B5EF4-FFF2-40B4-BE49-F238E27FC236}">
                  <a16:creationId xmlns:a16="http://schemas.microsoft.com/office/drawing/2014/main" id="{74EF7CA1-9B4E-4A8D-AF76-C726D297249D}"/>
                </a:ext>
              </a:extLst>
            </p:cNvPr>
            <p:cNvSpPr txBox="1"/>
            <p:nvPr/>
          </p:nvSpPr>
          <p:spPr>
            <a:xfrm>
              <a:off x="8283776" y="3709140"/>
              <a:ext cx="2101800" cy="699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3245" tIns="93245" rIns="93245" bIns="93245" anchor="t" anchorCtr="0">
              <a:noAutofit/>
            </a:bodyPr>
            <a:lstStyle/>
            <a:p>
              <a:pPr algn="ctr" defTabSz="932597">
                <a:buClr>
                  <a:srgbClr val="000000"/>
                </a:buClr>
                <a:buSzPct val="36666"/>
              </a:pPr>
              <a:r>
                <a:rPr lang="en-US" sz="2400" kern="0" dirty="0">
                  <a:latin typeface="+mj-lt"/>
                  <a:ea typeface="Raleway"/>
                  <a:cs typeface="Raleway"/>
                  <a:sym typeface="Raleway"/>
                </a:rPr>
                <a:t>Open Source</a:t>
              </a:r>
            </a:p>
            <a:p>
              <a:pPr algn="ctr" defTabSz="932597">
                <a:buClr>
                  <a:srgbClr val="000000"/>
                </a:buClr>
                <a:buSzPct val="36666"/>
              </a:pPr>
              <a:r>
                <a:rPr lang="en-US" sz="2400" kern="0" dirty="0">
                  <a:latin typeface="+mj-lt"/>
                  <a:ea typeface="Raleway"/>
                  <a:cs typeface="Raleway"/>
                  <a:sym typeface="Raleway"/>
                </a:rPr>
                <a:t>60% - 80%</a:t>
              </a:r>
            </a:p>
          </p:txBody>
        </p:sp>
      </p:grpSp>
      <p:sp>
        <p:nvSpPr>
          <p:cNvPr id="13" name="Shape 195">
            <a:extLst>
              <a:ext uri="{FF2B5EF4-FFF2-40B4-BE49-F238E27FC236}">
                <a16:creationId xmlns:a16="http://schemas.microsoft.com/office/drawing/2014/main" id="{6E8627C1-5D34-4B11-971F-D44E7D458A88}"/>
              </a:ext>
            </a:extLst>
          </p:cNvPr>
          <p:cNvSpPr txBox="1"/>
          <p:nvPr/>
        </p:nvSpPr>
        <p:spPr>
          <a:xfrm>
            <a:off x="3872118" y="3658666"/>
            <a:ext cx="495981" cy="713527"/>
          </a:xfrm>
          <a:prstGeom prst="rect">
            <a:avLst/>
          </a:prstGeom>
          <a:noFill/>
          <a:ln>
            <a:noFill/>
          </a:ln>
        </p:spPr>
        <p:txBody>
          <a:bodyPr wrap="square" lIns="93245" tIns="93245" rIns="93245" bIns="93245" anchor="t" anchorCtr="0">
            <a:noAutofit/>
          </a:bodyPr>
          <a:lstStyle/>
          <a:p>
            <a:pPr defTabSz="932597"/>
            <a:r>
              <a:rPr lang="en-US" sz="3200" kern="0" dirty="0">
                <a:latin typeface="+mj-lt"/>
                <a:ea typeface="Raleway"/>
                <a:cs typeface="Raleway"/>
                <a:sym typeface="Raleway"/>
              </a:rPr>
              <a:t>+</a:t>
            </a:r>
          </a:p>
        </p:txBody>
      </p:sp>
      <p:sp>
        <p:nvSpPr>
          <p:cNvPr id="14" name="Shape 196">
            <a:extLst>
              <a:ext uri="{FF2B5EF4-FFF2-40B4-BE49-F238E27FC236}">
                <a16:creationId xmlns:a16="http://schemas.microsoft.com/office/drawing/2014/main" id="{0CB05956-92C9-4D4F-888E-C7D3190FCF20}"/>
              </a:ext>
            </a:extLst>
          </p:cNvPr>
          <p:cNvSpPr txBox="1"/>
          <p:nvPr/>
        </p:nvSpPr>
        <p:spPr>
          <a:xfrm>
            <a:off x="7058513" y="3658666"/>
            <a:ext cx="495981" cy="713527"/>
          </a:xfrm>
          <a:prstGeom prst="rect">
            <a:avLst/>
          </a:prstGeom>
          <a:noFill/>
          <a:ln>
            <a:noFill/>
          </a:ln>
        </p:spPr>
        <p:txBody>
          <a:bodyPr wrap="square" lIns="93245" tIns="93245" rIns="93245" bIns="93245" anchor="t" anchorCtr="0">
            <a:noAutofit/>
          </a:bodyPr>
          <a:lstStyle/>
          <a:p>
            <a:pPr defTabSz="932597"/>
            <a:r>
              <a:rPr lang="en-US" sz="3200" kern="0" dirty="0">
                <a:latin typeface="+mj-lt"/>
                <a:ea typeface="Raleway"/>
                <a:cs typeface="Raleway"/>
                <a:sym typeface="Raleway"/>
              </a:rPr>
              <a:t>+</a:t>
            </a:r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A45761D0-33ED-4B3D-94E6-06FA4C731847}"/>
              </a:ext>
            </a:extLst>
          </p:cNvPr>
          <p:cNvSpPr/>
          <p:nvPr/>
        </p:nvSpPr>
        <p:spPr>
          <a:xfrm>
            <a:off x="725915" y="5850188"/>
            <a:ext cx="107401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32597"/>
            <a:r>
              <a:rPr lang="en-US" sz="1600" i="1" kern="0" dirty="0">
                <a:cs typeface="Lato Medium" panose="020F0602020204030203" pitchFamily="34" charset="0"/>
                <a:sym typeface="Arial"/>
              </a:rPr>
              <a:t>*Gartner User Survey Analysis: Open-Source Software 2016 &amp; Forrester Wave Report: Software Composition Analysis, Q1, 2017 </a:t>
            </a:r>
            <a:endParaRPr lang="he-IL" sz="1600" i="1" kern="0" dirty="0"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16253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C52099-3017-46D8-834E-15A519749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3200" dirty="0">
                <a:sym typeface="Arial"/>
              </a:rPr>
            </a:br>
            <a:r>
              <a:rPr lang="en-US" sz="3200" dirty="0">
                <a:sym typeface="Arial"/>
              </a:rPr>
              <a:t>Open Source Introduces New Challenges</a:t>
            </a:r>
            <a:br>
              <a:rPr lang="en-US" sz="3200" dirty="0">
                <a:sym typeface="Arial"/>
              </a:rPr>
            </a:br>
            <a:endParaRPr lang="nl-NL" dirty="0"/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15489385-07C1-4113-914D-7FA91AA043EB}"/>
              </a:ext>
            </a:extLst>
          </p:cNvPr>
          <p:cNvSpPr txBox="1"/>
          <p:nvPr/>
        </p:nvSpPr>
        <p:spPr>
          <a:xfrm>
            <a:off x="6813265" y="4669068"/>
            <a:ext cx="18768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597"/>
            <a:r>
              <a:rPr lang="en-US" sz="3200" b="1" kern="0" dirty="0">
                <a:latin typeface="+mj-lt"/>
                <a:cs typeface="Arial"/>
                <a:sym typeface="Arial"/>
              </a:rPr>
              <a:t>Quality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F21AB19F-D4C3-441E-9673-34AA5DB05995}"/>
              </a:ext>
            </a:extLst>
          </p:cNvPr>
          <p:cNvSpPr txBox="1"/>
          <p:nvPr/>
        </p:nvSpPr>
        <p:spPr>
          <a:xfrm>
            <a:off x="695400" y="4669068"/>
            <a:ext cx="2096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597"/>
            <a:r>
              <a:rPr lang="en-US" sz="3200" b="1" kern="0" dirty="0">
                <a:latin typeface="+mj-lt"/>
                <a:cs typeface="Arial"/>
                <a:sym typeface="Arial"/>
              </a:rPr>
              <a:t>Security</a:t>
            </a: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884AD170-9F91-45AE-B0EB-704EAEBAF845}"/>
              </a:ext>
            </a:extLst>
          </p:cNvPr>
          <p:cNvSpPr txBox="1"/>
          <p:nvPr/>
        </p:nvSpPr>
        <p:spPr>
          <a:xfrm>
            <a:off x="3756564" y="4669068"/>
            <a:ext cx="2257968" cy="6064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597"/>
            <a:r>
              <a:rPr lang="en-US" sz="3264" b="1" kern="0" dirty="0">
                <a:latin typeface="+mj-lt"/>
                <a:cs typeface="Arial"/>
                <a:sym typeface="Arial"/>
              </a:rPr>
              <a:t>Licenses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B2A40A4E-B943-4DDB-B995-3A461C51779C}"/>
              </a:ext>
            </a:extLst>
          </p:cNvPr>
          <p:cNvSpPr txBox="1"/>
          <p:nvPr/>
        </p:nvSpPr>
        <p:spPr>
          <a:xfrm>
            <a:off x="9516009" y="4669068"/>
            <a:ext cx="2340631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2597"/>
            <a:r>
              <a:rPr lang="en-US" sz="3264" b="1" kern="0" dirty="0">
                <a:latin typeface="+mj-lt"/>
                <a:cs typeface="Arial"/>
                <a:sym typeface="Arial"/>
              </a:rPr>
              <a:t>Versions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7488A286-8E3B-4890-A7EA-C36046EAF3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4804" y="2214344"/>
            <a:ext cx="2117556" cy="2102393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19BB66C5-CDC2-4123-B4CE-3CD13A0FB9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8289" y="2182736"/>
            <a:ext cx="2151790" cy="2402950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286A4C36-529A-4FDF-9FC2-6622BA67AF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6009" y="2214343"/>
            <a:ext cx="2405321" cy="2133867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FC983F60-9CF6-472A-80FF-52142FFF65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365" y="2267263"/>
            <a:ext cx="2096510" cy="204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38503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AB47D4-409B-4B67-9354-B2CE16D62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Vulnerabilities by year</a:t>
            </a:r>
            <a:br>
              <a:rPr lang="en-US" dirty="0"/>
            </a:br>
            <a:endParaRPr lang="nl-NL" dirty="0"/>
          </a:p>
        </p:txBody>
      </p:sp>
      <p:pic>
        <p:nvPicPr>
          <p:cNvPr id="3" name="Picture 2" descr="Growth of vulnerabilities by year">
            <a:extLst>
              <a:ext uri="{FF2B5EF4-FFF2-40B4-BE49-F238E27FC236}">
                <a16:creationId xmlns:a16="http://schemas.microsoft.com/office/drawing/2014/main" id="{3CCDA3D4-A1E3-49CF-9D1E-D5B4FA5C5C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74"/>
          <a:stretch/>
        </p:blipFill>
        <p:spPr bwMode="auto">
          <a:xfrm>
            <a:off x="2661758" y="2142154"/>
            <a:ext cx="6868484" cy="3718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0537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F5EC807C-C3F1-4404-9868-4EC7B2F66F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24680" y="2765787"/>
            <a:ext cx="3349321" cy="4119597"/>
          </a:xfrm>
          <a:prstGeom prst="rect">
            <a:avLst/>
          </a:prstGeom>
        </p:spPr>
      </p:pic>
      <p:grpSp>
        <p:nvGrpSpPr>
          <p:cNvPr id="6" name="Group 6">
            <a:extLst>
              <a:ext uri="{FF2B5EF4-FFF2-40B4-BE49-F238E27FC236}">
                <a16:creationId xmlns:a16="http://schemas.microsoft.com/office/drawing/2014/main" id="{383FE2AA-7752-409E-B416-3283B7358B82}"/>
              </a:ext>
            </a:extLst>
          </p:cNvPr>
          <p:cNvGrpSpPr/>
          <p:nvPr/>
        </p:nvGrpSpPr>
        <p:grpSpPr>
          <a:xfrm>
            <a:off x="2550500" y="951084"/>
            <a:ext cx="7370226" cy="3733527"/>
            <a:chOff x="8802167" y="2066839"/>
            <a:chExt cx="2109928" cy="803114"/>
          </a:xfrm>
        </p:grpSpPr>
        <p:sp>
          <p:nvSpPr>
            <p:cNvPr id="7" name="Rectangle 7">
              <a:extLst>
                <a:ext uri="{FF2B5EF4-FFF2-40B4-BE49-F238E27FC236}">
                  <a16:creationId xmlns:a16="http://schemas.microsoft.com/office/drawing/2014/main" id="{B682AD3C-40D5-4C41-B794-C08F49947D63}"/>
                </a:ext>
              </a:extLst>
            </p:cNvPr>
            <p:cNvSpPr/>
            <p:nvPr/>
          </p:nvSpPr>
          <p:spPr bwMode="black">
            <a:xfrm>
              <a:off x="8984437" y="2066839"/>
              <a:ext cx="1927658" cy="718604"/>
            </a:xfrm>
            <a:prstGeom prst="rect">
              <a:avLst/>
            </a:prstGeom>
            <a:solidFill>
              <a:srgbClr val="505050">
                <a:lumMod val="50000"/>
              </a:srgbClr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274281" tIns="274281" rIns="274281" bIns="27428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“</a:t>
              </a: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Fundamentally, if somebody wants to get in, </a:t>
              </a: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00BCF2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they're getting in…accept that.</a:t>
              </a:r>
              <a:b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</a:br>
              <a:b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A6987D">
                      <a:lumMod val="75000"/>
                    </a:srgbClr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</a:b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What we tell clients is: </a:t>
              </a:r>
              <a:b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</a:b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Number one, </a:t>
              </a: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00BCF2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you're in the fight, </a:t>
              </a: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whether you thought you were or not.  Number two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all" spc="0" normalizeH="0" baseline="0" noProof="0" dirty="0">
                  <a:ln>
                    <a:noFill/>
                  </a:ln>
                  <a:solidFill>
                    <a:srgbClr val="00BCF2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you almost certainly are penetrated. </a:t>
              </a: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”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endParaRPr>
            </a:p>
            <a:p>
              <a:pPr marL="685669" marR="0" lvl="0" indent="0" defTabSz="914400" eaLnBrk="1" fontAlgn="auto" latinLnBrk="0" hangingPunct="1">
                <a:lnSpc>
                  <a:spcPct val="100000"/>
                </a:lnSpc>
                <a:spcBef>
                  <a:spcPts val="1199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Michael Hayden</a:t>
              </a:r>
            </a:p>
            <a:p>
              <a:pPr marL="685669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  <a:ea typeface="Segoe UI" panose="020B0502040204020203" pitchFamily="34" charset="0"/>
                  <a:cs typeface="Segoe UI" panose="020B0502040204020203" pitchFamily="34" charset="0"/>
                </a:rPr>
                <a:t>Former Director of NSA &amp; CIA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F76BC">
                    <a:lumMod val="75000"/>
                  </a:srgbClr>
                </a:soli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Isosceles Triangle 8">
              <a:extLst>
                <a:ext uri="{FF2B5EF4-FFF2-40B4-BE49-F238E27FC236}">
                  <a16:creationId xmlns:a16="http://schemas.microsoft.com/office/drawing/2014/main" id="{783207DF-BB71-4D87-BC31-FC9611F6271C}"/>
                </a:ext>
              </a:extLst>
            </p:cNvPr>
            <p:cNvSpPr/>
            <p:nvPr/>
          </p:nvSpPr>
          <p:spPr bwMode="black">
            <a:xfrm rot="2922405" flipH="1" flipV="1">
              <a:off x="8875392" y="2654249"/>
              <a:ext cx="142479" cy="288930"/>
            </a:xfrm>
            <a:prstGeom prst="triangle">
              <a:avLst>
                <a:gd name="adj" fmla="val 100000"/>
              </a:avLst>
            </a:prstGeom>
            <a:solidFill>
              <a:srgbClr val="505050">
                <a:lumMod val="50000"/>
              </a:srgbClr>
            </a:solidFill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91423" tIns="45711" rIns="91423" bIns="45711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74059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-122" normalizeH="0" baseline="0" noProof="0" dirty="0">
                <a:ln>
                  <a:noFill/>
                </a:ln>
                <a:solidFill>
                  <a:srgbClr val="505050">
                    <a:lumMod val="50000"/>
                  </a:srgbClr>
                </a:solidFill>
                <a:effectLst/>
                <a:uLnTx/>
                <a:uFillTx/>
                <a:latin typeface="Segoe Light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4727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658822D-9630-4A06-AD76-1271047CC9FB}"/>
              </a:ext>
            </a:extLst>
          </p:cNvPr>
          <p:cNvSpPr txBox="1">
            <a:spLocks/>
          </p:cNvSpPr>
          <p:nvPr/>
        </p:nvSpPr>
        <p:spPr>
          <a:xfrm>
            <a:off x="226800" y="0"/>
            <a:ext cx="11655840" cy="8996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70A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itHub Secure Coding</a:t>
            </a:r>
          </a:p>
        </p:txBody>
      </p:sp>
      <p:pic>
        <p:nvPicPr>
          <p:cNvPr id="16386" name="Picture 2" descr="Dependabot automatically opens pull requests to patch dependencies with vulnerabilities.">
            <a:extLst>
              <a:ext uri="{FF2B5EF4-FFF2-40B4-BE49-F238E27FC236}">
                <a16:creationId xmlns:a16="http://schemas.microsoft.com/office/drawing/2014/main" id="{34A4A35B-6B43-433A-BD44-76C3797FD9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99" y="904933"/>
            <a:ext cx="7453377" cy="5822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27442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658822D-9630-4A06-AD76-1271047CC9FB}"/>
              </a:ext>
            </a:extLst>
          </p:cNvPr>
          <p:cNvSpPr txBox="1">
            <a:spLocks/>
          </p:cNvSpPr>
          <p:nvPr/>
        </p:nvSpPr>
        <p:spPr>
          <a:xfrm>
            <a:off x="226800" y="0"/>
            <a:ext cx="11655840" cy="89966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0070A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dirty="0">
                <a:solidFill>
                  <a:srgbClr val="0070AD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itHub Secure Coding</a:t>
            </a:r>
          </a:p>
        </p:txBody>
      </p:sp>
      <p:pic>
        <p:nvPicPr>
          <p:cNvPr id="14340" name="Picture 4" descr="Find your dependency insights using the &quot;Insights&quot; tab in the GitHub interface">
            <a:extLst>
              <a:ext uri="{FF2B5EF4-FFF2-40B4-BE49-F238E27FC236}">
                <a16:creationId xmlns:a16="http://schemas.microsoft.com/office/drawing/2014/main" id="{640F9C0C-354A-49B4-A5A4-743ABC9A0CFE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1196752"/>
            <a:ext cx="7234404" cy="5250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74872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60CACE-E61D-448D-95CD-BF24235CE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Recap</a:t>
            </a:r>
            <a:br>
              <a:rPr lang="en-US" dirty="0"/>
            </a:br>
            <a:endParaRPr lang="nl-NL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2648DA-5DE4-4104-9152-C078A7DFAA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4075630"/>
              </p:ext>
            </p:extLst>
          </p:nvPr>
        </p:nvGraphicFramePr>
        <p:xfrm>
          <a:off x="2032000" y="980728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0600813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C0DC312-764F-49F8-B6AD-E835B6136F08}"/>
              </a:ext>
            </a:extLst>
          </p:cNvPr>
          <p:cNvSpPr/>
          <p:nvPr/>
        </p:nvSpPr>
        <p:spPr>
          <a:xfrm>
            <a:off x="276073" y="2551837"/>
            <a:ext cx="1163985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5400" dirty="0" err="1">
                <a:solidFill>
                  <a:srgbClr val="0070AD"/>
                </a:solidFill>
              </a:rPr>
              <a:t>Don’t</a:t>
            </a:r>
            <a:r>
              <a:rPr lang="nl-NL" sz="5400" dirty="0">
                <a:solidFill>
                  <a:srgbClr val="0070AD"/>
                </a:solidFill>
              </a:rPr>
              <a:t> take </a:t>
            </a:r>
            <a:r>
              <a:rPr lang="nl-NL" sz="5400" dirty="0" err="1">
                <a:solidFill>
                  <a:srgbClr val="0070AD"/>
                </a:solidFill>
              </a:rPr>
              <a:t>your</a:t>
            </a:r>
            <a:r>
              <a:rPr lang="nl-NL" sz="5400" dirty="0">
                <a:solidFill>
                  <a:srgbClr val="0070AD"/>
                </a:solidFill>
              </a:rPr>
              <a:t> on-</a:t>
            </a:r>
            <a:r>
              <a:rPr lang="nl-NL" sz="5400" dirty="0" err="1">
                <a:solidFill>
                  <a:srgbClr val="0070AD"/>
                </a:solidFill>
              </a:rPr>
              <a:t>premises</a:t>
            </a:r>
            <a:r>
              <a:rPr lang="nl-NL" sz="5400" dirty="0">
                <a:solidFill>
                  <a:srgbClr val="0070AD"/>
                </a:solidFill>
              </a:rPr>
              <a:t> security </a:t>
            </a:r>
            <a:r>
              <a:rPr lang="nl-NL" sz="5400" dirty="0" err="1">
                <a:solidFill>
                  <a:srgbClr val="0070AD"/>
                </a:solidFill>
              </a:rPr>
              <a:t>to</a:t>
            </a:r>
            <a:r>
              <a:rPr lang="nl-NL" sz="5400" dirty="0">
                <a:solidFill>
                  <a:srgbClr val="0070AD"/>
                </a:solidFill>
              </a:rPr>
              <a:t> </a:t>
            </a:r>
            <a:r>
              <a:rPr lang="nl-NL" sz="5400" dirty="0" err="1">
                <a:solidFill>
                  <a:srgbClr val="0070AD"/>
                </a:solidFill>
              </a:rPr>
              <a:t>the</a:t>
            </a:r>
            <a:r>
              <a:rPr lang="nl-NL" sz="5400" dirty="0">
                <a:solidFill>
                  <a:srgbClr val="0070AD"/>
                </a:solidFill>
              </a:rPr>
              <a:t> </a:t>
            </a:r>
            <a:r>
              <a:rPr lang="nl-NL" sz="5400" dirty="0" err="1">
                <a:solidFill>
                  <a:srgbClr val="0070AD"/>
                </a:solidFill>
              </a:rPr>
              <a:t>cloud</a:t>
            </a:r>
            <a:endParaRPr lang="nl-NL" sz="5400" dirty="0">
              <a:solidFill>
                <a:srgbClr val="0070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93886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239" y="2084172"/>
            <a:ext cx="11653523" cy="3117200"/>
          </a:xfrm>
        </p:spPr>
        <p:txBody>
          <a:bodyPr/>
          <a:lstStyle/>
          <a:p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8899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FA0251-59DA-451C-ABC4-8A3DAD069A8A}"/>
              </a:ext>
            </a:extLst>
          </p:cNvPr>
          <p:cNvSpPr txBox="1">
            <a:spLocks/>
          </p:cNvSpPr>
          <p:nvPr/>
        </p:nvSpPr>
        <p:spPr>
          <a:xfrm>
            <a:off x="1925603" y="1165392"/>
            <a:ext cx="8332035" cy="1325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NL" dirty="0"/>
              <a:t>Get in </a:t>
            </a:r>
            <a:r>
              <a:rPr lang="nl-NL" dirty="0" err="1"/>
              <a:t>touch</a:t>
            </a:r>
            <a:r>
              <a:rPr lang="nl-NL" dirty="0"/>
              <a:t>!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DE7C680-FB3C-425D-89D3-20AC145B534F}"/>
              </a:ext>
            </a:extLst>
          </p:cNvPr>
          <p:cNvGrpSpPr/>
          <p:nvPr/>
        </p:nvGrpSpPr>
        <p:grpSpPr>
          <a:xfrm>
            <a:off x="2022350" y="2165183"/>
            <a:ext cx="8235290" cy="3527425"/>
            <a:chOff x="2031107" y="2165183"/>
            <a:chExt cx="8235290" cy="3527425"/>
          </a:xfrm>
        </p:grpSpPr>
        <p:pic>
          <p:nvPicPr>
            <p:cNvPr id="3" name="Content Placeholder 3">
              <a:extLst>
                <a:ext uri="{FF2B5EF4-FFF2-40B4-BE49-F238E27FC236}">
                  <a16:creationId xmlns:a16="http://schemas.microsoft.com/office/drawing/2014/main" id="{04285F40-59C6-4E02-9957-22EB4279B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31107" y="2165183"/>
              <a:ext cx="4273940" cy="3527425"/>
            </a:xfrm>
            <a:prstGeom prst="rect">
              <a:avLst/>
            </a:prstGeom>
          </p:spPr>
        </p:pic>
        <p:grpSp>
          <p:nvGrpSpPr>
            <p:cNvPr id="4" name="Group 15">
              <a:extLst>
                <a:ext uri="{FF2B5EF4-FFF2-40B4-BE49-F238E27FC236}">
                  <a16:creationId xmlns:a16="http://schemas.microsoft.com/office/drawing/2014/main" id="{F3A7EF5F-075D-4FFF-BF16-72255A78E4F1}"/>
                </a:ext>
              </a:extLst>
            </p:cNvPr>
            <p:cNvGrpSpPr/>
            <p:nvPr/>
          </p:nvGrpSpPr>
          <p:grpSpPr>
            <a:xfrm>
              <a:off x="6801758" y="2877739"/>
              <a:ext cx="3464639" cy="2064212"/>
              <a:chOff x="5712505" y="1813204"/>
              <a:chExt cx="4583431" cy="2827111"/>
            </a:xfrm>
          </p:grpSpPr>
          <p:grpSp>
            <p:nvGrpSpPr>
              <p:cNvPr id="5" name="Group 16">
                <a:extLst>
                  <a:ext uri="{FF2B5EF4-FFF2-40B4-BE49-F238E27FC236}">
                    <a16:creationId xmlns:a16="http://schemas.microsoft.com/office/drawing/2014/main" id="{31DFB41B-2956-4BA9-A9E8-232EFAE363FF}"/>
                  </a:ext>
                </a:extLst>
              </p:cNvPr>
              <p:cNvGrpSpPr/>
              <p:nvPr/>
            </p:nvGrpSpPr>
            <p:grpSpPr>
              <a:xfrm>
                <a:off x="5713036" y="1813204"/>
                <a:ext cx="4582900" cy="756000"/>
                <a:chOff x="1239359" y="2590799"/>
                <a:chExt cx="4582900" cy="756000"/>
              </a:xfrm>
            </p:grpSpPr>
            <p:pic>
              <p:nvPicPr>
                <p:cNvPr id="12" name="Picture 23" descr="http://scm-l3.technorati.com/13/07/24/76953/twitter-logo-bird.gif%3Ft%3D20130724122337">
                  <a:extLst>
                    <a:ext uri="{FF2B5EF4-FFF2-40B4-BE49-F238E27FC236}">
                      <a16:creationId xmlns:a16="http://schemas.microsoft.com/office/drawing/2014/main" id="{0F3E6B41-CEF2-444B-A1CA-B98EC0494BB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39359" y="2590799"/>
                  <a:ext cx="827710" cy="75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13" name="TextBox 24">
                  <a:extLst>
                    <a:ext uri="{FF2B5EF4-FFF2-40B4-BE49-F238E27FC236}">
                      <a16:creationId xmlns:a16="http://schemas.microsoft.com/office/drawing/2014/main" id="{4221900C-511A-4DE5-B50B-D2D8BF607FE5}"/>
                    </a:ext>
                  </a:extLst>
                </p:cNvPr>
                <p:cNvSpPr txBox="1"/>
                <p:nvPr/>
              </p:nvSpPr>
              <p:spPr>
                <a:xfrm>
                  <a:off x="2248479" y="2799522"/>
                  <a:ext cx="3573780" cy="3742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72358">
                    <a:buClr>
                      <a:srgbClr val="000000"/>
                    </a:buClr>
                    <a:defRPr/>
                  </a:pPr>
                  <a:r>
                    <a:rPr lang="en-US" sz="1176" kern="0" dirty="0">
                      <a:solidFill>
                        <a:srgbClr val="2D326E"/>
                      </a:solidFill>
                      <a:latin typeface="Segoe UI"/>
                    </a:rPr>
                    <a:t>@wouterdekort</a:t>
                  </a:r>
                  <a:endParaRPr lang="nl-NL" sz="1176" kern="0" dirty="0" err="1">
                    <a:solidFill>
                      <a:srgbClr val="2D326E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6" name="Group 17">
                <a:extLst>
                  <a:ext uri="{FF2B5EF4-FFF2-40B4-BE49-F238E27FC236}">
                    <a16:creationId xmlns:a16="http://schemas.microsoft.com/office/drawing/2014/main" id="{0503AA66-7AAC-456F-8CFB-E2C17DC2DA58}"/>
                  </a:ext>
                </a:extLst>
              </p:cNvPr>
              <p:cNvGrpSpPr/>
              <p:nvPr/>
            </p:nvGrpSpPr>
            <p:grpSpPr>
              <a:xfrm>
                <a:off x="5712505" y="2848760"/>
                <a:ext cx="4583430" cy="756000"/>
                <a:chOff x="1238828" y="3432765"/>
                <a:chExt cx="4583430" cy="756000"/>
              </a:xfrm>
            </p:grpSpPr>
            <p:sp>
              <p:nvSpPr>
                <p:cNvPr id="10" name="TextBox 21">
                  <a:extLst>
                    <a:ext uri="{FF2B5EF4-FFF2-40B4-BE49-F238E27FC236}">
                      <a16:creationId xmlns:a16="http://schemas.microsoft.com/office/drawing/2014/main" id="{D7F55617-081A-4F67-A88B-7AE23C78C411}"/>
                    </a:ext>
                  </a:extLst>
                </p:cNvPr>
                <p:cNvSpPr txBox="1"/>
                <p:nvPr/>
              </p:nvSpPr>
              <p:spPr>
                <a:xfrm>
                  <a:off x="2248479" y="3641488"/>
                  <a:ext cx="3573779" cy="3742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72358">
                    <a:buClr>
                      <a:srgbClr val="000000"/>
                    </a:buClr>
                    <a:defRPr/>
                  </a:pPr>
                  <a:r>
                    <a:rPr lang="en-US" sz="1176" kern="0">
                      <a:solidFill>
                        <a:srgbClr val="2D326E"/>
                      </a:solidFill>
                      <a:latin typeface="Segoe UI"/>
                    </a:rPr>
                    <a:t>wouter@wouterdekort.com</a:t>
                  </a:r>
                  <a:endParaRPr lang="nl-NL" sz="1176" kern="0" dirty="0" err="1">
                    <a:solidFill>
                      <a:srgbClr val="2D326E"/>
                    </a:solidFill>
                    <a:latin typeface="Segoe UI"/>
                  </a:endParaRPr>
                </a:p>
              </p:txBody>
            </p:sp>
            <p:pic>
              <p:nvPicPr>
                <p:cNvPr id="11" name="Picture 22" descr="http://www.iconhot.com/icon/png/android-style-icons-r1/512/mail-64.png">
                  <a:extLst>
                    <a:ext uri="{FF2B5EF4-FFF2-40B4-BE49-F238E27FC236}">
                      <a16:creationId xmlns:a16="http://schemas.microsoft.com/office/drawing/2014/main" id="{2C5E6FD3-F40F-44D0-8FFA-1F0EA8A8165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38828" y="3432765"/>
                  <a:ext cx="756000" cy="75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7" name="Group 18">
                <a:extLst>
                  <a:ext uri="{FF2B5EF4-FFF2-40B4-BE49-F238E27FC236}">
                    <a16:creationId xmlns:a16="http://schemas.microsoft.com/office/drawing/2014/main" id="{870DEA28-FA9E-4150-AC9A-68EE0DB94AFB}"/>
                  </a:ext>
                </a:extLst>
              </p:cNvPr>
              <p:cNvGrpSpPr/>
              <p:nvPr/>
            </p:nvGrpSpPr>
            <p:grpSpPr>
              <a:xfrm>
                <a:off x="5712520" y="3884315"/>
                <a:ext cx="4583416" cy="756000"/>
                <a:chOff x="1238843" y="4661910"/>
                <a:chExt cx="4583416" cy="756000"/>
              </a:xfrm>
            </p:grpSpPr>
            <p:pic>
              <p:nvPicPr>
                <p:cNvPr id="8" name="Picture 19" descr="http://www.caboodlemarketing.com/caboodle/images/blogspot_logo.png">
                  <a:extLst>
                    <a:ext uri="{FF2B5EF4-FFF2-40B4-BE49-F238E27FC236}">
                      <a16:creationId xmlns:a16="http://schemas.microsoft.com/office/drawing/2014/main" id="{3E530FFF-C97D-4004-8DD5-C37F5A53D2F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38843" y="4661910"/>
                  <a:ext cx="761351" cy="756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9" name="TextBox 20">
                  <a:extLst>
                    <a:ext uri="{FF2B5EF4-FFF2-40B4-BE49-F238E27FC236}">
                      <a16:creationId xmlns:a16="http://schemas.microsoft.com/office/drawing/2014/main" id="{61D51B2C-3D63-4482-8739-DE76260B42E3}"/>
                    </a:ext>
                  </a:extLst>
                </p:cNvPr>
                <p:cNvSpPr txBox="1"/>
                <p:nvPr/>
              </p:nvSpPr>
              <p:spPr>
                <a:xfrm>
                  <a:off x="2248479" y="4870633"/>
                  <a:ext cx="3573780" cy="37428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72358">
                    <a:buClr>
                      <a:srgbClr val="000000"/>
                    </a:buClr>
                    <a:defRPr/>
                  </a:pPr>
                  <a:r>
                    <a:rPr lang="en-US" sz="1176" kern="0" dirty="0">
                      <a:solidFill>
                        <a:srgbClr val="2D326E"/>
                      </a:solidFill>
                      <a:latin typeface="Segoe UI"/>
                    </a:rPr>
                    <a:t>https://wouterdekort.com</a:t>
                  </a:r>
                  <a:endParaRPr lang="nl-NL" sz="1176" kern="0" dirty="0" err="1">
                    <a:solidFill>
                      <a:srgbClr val="2D326E"/>
                    </a:solidFill>
                    <a:latin typeface="Segoe UI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42261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5">
            <a:extLst>
              <a:ext uri="{FF2B5EF4-FFF2-40B4-BE49-F238E27FC236}">
                <a16:creationId xmlns:a16="http://schemas.microsoft.com/office/drawing/2014/main" id="{11DF3403-8EEA-467B-A260-9AB9A69A0E85}"/>
              </a:ext>
            </a:extLst>
          </p:cNvPr>
          <p:cNvSpPr txBox="1">
            <a:spLocks/>
          </p:cNvSpPr>
          <p:nvPr/>
        </p:nvSpPr>
        <p:spPr>
          <a:xfrm>
            <a:off x="227349" y="0"/>
            <a:ext cx="11125236" cy="1104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rgbClr val="0070A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he </a:t>
            </a:r>
            <a:r>
              <a:rPr kumimoji="0" lang="nl-NL" sz="3000" b="0" i="0" u="none" strike="noStrike" kern="1200" cap="none" spc="0" normalizeH="0" baseline="0" noProof="0" dirty="0" err="1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indset</a:t>
            </a:r>
            <a:r>
              <a: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Shift</a:t>
            </a:r>
            <a:br>
              <a:rPr kumimoji="0" lang="nl-NL" sz="3000" b="0" i="0" u="none" strike="noStrike" kern="1200" cap="none" spc="0" normalizeH="0" baseline="0" noProof="0" dirty="0">
                <a:ln>
                  <a:noFill/>
                </a:ln>
                <a:solidFill>
                  <a:srgbClr val="0070A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endParaRPr kumimoji="0" lang="nl-NL" sz="3000" b="0" i="0" u="none" strike="noStrike" kern="1200" cap="none" spc="0" normalizeH="0" baseline="0" noProof="0" dirty="0">
              <a:ln>
                <a:noFill/>
              </a:ln>
              <a:solidFill>
                <a:srgbClr val="0070AD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B775036-BC53-4D51-943E-82390FAFBB58}"/>
              </a:ext>
            </a:extLst>
          </p:cNvPr>
          <p:cNvGrpSpPr/>
          <p:nvPr/>
        </p:nvGrpSpPr>
        <p:grpSpPr>
          <a:xfrm>
            <a:off x="5303912" y="2128622"/>
            <a:ext cx="3767396" cy="2091032"/>
            <a:chOff x="7873220" y="3992111"/>
            <a:chExt cx="3767396" cy="2091032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AAE944B-2805-4283-B311-32E651E05423}"/>
                </a:ext>
              </a:extLst>
            </p:cNvPr>
            <p:cNvGrpSpPr/>
            <p:nvPr/>
          </p:nvGrpSpPr>
          <p:grpSpPr>
            <a:xfrm>
              <a:off x="7873220" y="3992111"/>
              <a:ext cx="655827" cy="621142"/>
              <a:chOff x="6218238" y="2947988"/>
              <a:chExt cx="1620837" cy="1535113"/>
            </a:xfrm>
            <a:solidFill>
              <a:srgbClr val="0070C0"/>
            </a:solidFill>
          </p:grpSpPr>
          <p:sp>
            <p:nvSpPr>
              <p:cNvPr id="5" name="Freeform 5">
                <a:extLst>
                  <a:ext uri="{FF2B5EF4-FFF2-40B4-BE49-F238E27FC236}">
                    <a16:creationId xmlns:a16="http://schemas.microsoft.com/office/drawing/2014/main" id="{637BE469-1166-49B6-9940-E815D0572B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18238" y="3897313"/>
                <a:ext cx="1620837" cy="585788"/>
              </a:xfrm>
              <a:custGeom>
                <a:avLst/>
                <a:gdLst>
                  <a:gd name="T0" fmla="*/ 1311 w 1311"/>
                  <a:gd name="T1" fmla="*/ 432 h 474"/>
                  <a:gd name="T2" fmla="*/ 1311 w 1311"/>
                  <a:gd name="T3" fmla="*/ 452 h 474"/>
                  <a:gd name="T4" fmla="*/ 1263 w 1311"/>
                  <a:gd name="T5" fmla="*/ 474 h 474"/>
                  <a:gd name="T6" fmla="*/ 49 w 1311"/>
                  <a:gd name="T7" fmla="*/ 473 h 474"/>
                  <a:gd name="T8" fmla="*/ 0 w 1311"/>
                  <a:gd name="T9" fmla="*/ 452 h 474"/>
                  <a:gd name="T10" fmla="*/ 0 w 1311"/>
                  <a:gd name="T11" fmla="*/ 432 h 474"/>
                  <a:gd name="T12" fmla="*/ 9 w 1311"/>
                  <a:gd name="T13" fmla="*/ 414 h 474"/>
                  <a:gd name="T14" fmla="*/ 122 w 1311"/>
                  <a:gd name="T15" fmla="*/ 45 h 474"/>
                  <a:gd name="T16" fmla="*/ 178 w 1311"/>
                  <a:gd name="T17" fmla="*/ 2 h 474"/>
                  <a:gd name="T18" fmla="*/ 1125 w 1311"/>
                  <a:gd name="T19" fmla="*/ 2 h 474"/>
                  <a:gd name="T20" fmla="*/ 1147 w 1311"/>
                  <a:gd name="T21" fmla="*/ 4 h 474"/>
                  <a:gd name="T22" fmla="*/ 1177 w 1311"/>
                  <a:gd name="T23" fmla="*/ 31 h 474"/>
                  <a:gd name="T24" fmla="*/ 1261 w 1311"/>
                  <a:gd name="T25" fmla="*/ 288 h 474"/>
                  <a:gd name="T26" fmla="*/ 1311 w 1311"/>
                  <a:gd name="T27" fmla="*/ 432 h 474"/>
                  <a:gd name="T28" fmla="*/ 878 w 1311"/>
                  <a:gd name="T29" fmla="*/ 177 h 474"/>
                  <a:gd name="T30" fmla="*/ 431 w 1311"/>
                  <a:gd name="T31" fmla="*/ 177 h 474"/>
                  <a:gd name="T32" fmla="*/ 417 w 1311"/>
                  <a:gd name="T33" fmla="*/ 341 h 474"/>
                  <a:gd name="T34" fmla="*/ 895 w 1311"/>
                  <a:gd name="T35" fmla="*/ 341 h 474"/>
                  <a:gd name="T36" fmla="*/ 878 w 1311"/>
                  <a:gd name="T37" fmla="*/ 177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11" h="474">
                    <a:moveTo>
                      <a:pt x="1311" y="432"/>
                    </a:moveTo>
                    <a:cubicBezTo>
                      <a:pt x="1311" y="438"/>
                      <a:pt x="1311" y="445"/>
                      <a:pt x="1311" y="452"/>
                    </a:cubicBezTo>
                    <a:cubicBezTo>
                      <a:pt x="1300" y="471"/>
                      <a:pt x="1283" y="474"/>
                      <a:pt x="1263" y="474"/>
                    </a:cubicBezTo>
                    <a:cubicBezTo>
                      <a:pt x="858" y="473"/>
                      <a:pt x="454" y="473"/>
                      <a:pt x="49" y="473"/>
                    </a:cubicBezTo>
                    <a:cubicBezTo>
                      <a:pt x="29" y="473"/>
                      <a:pt x="12" y="469"/>
                      <a:pt x="0" y="452"/>
                    </a:cubicBezTo>
                    <a:cubicBezTo>
                      <a:pt x="0" y="445"/>
                      <a:pt x="0" y="438"/>
                      <a:pt x="0" y="432"/>
                    </a:cubicBezTo>
                    <a:cubicBezTo>
                      <a:pt x="3" y="426"/>
                      <a:pt x="7" y="420"/>
                      <a:pt x="9" y="414"/>
                    </a:cubicBezTo>
                    <a:cubicBezTo>
                      <a:pt x="47" y="291"/>
                      <a:pt x="84" y="168"/>
                      <a:pt x="122" y="45"/>
                    </a:cubicBezTo>
                    <a:cubicBezTo>
                      <a:pt x="134" y="6"/>
                      <a:pt x="138" y="2"/>
                      <a:pt x="178" y="2"/>
                    </a:cubicBezTo>
                    <a:cubicBezTo>
                      <a:pt x="494" y="2"/>
                      <a:pt x="809" y="2"/>
                      <a:pt x="1125" y="2"/>
                    </a:cubicBezTo>
                    <a:cubicBezTo>
                      <a:pt x="1132" y="2"/>
                      <a:pt x="1142" y="0"/>
                      <a:pt x="1147" y="4"/>
                    </a:cubicBezTo>
                    <a:cubicBezTo>
                      <a:pt x="1158" y="11"/>
                      <a:pt x="1173" y="20"/>
                      <a:pt x="1177" y="31"/>
                    </a:cubicBezTo>
                    <a:cubicBezTo>
                      <a:pt x="1206" y="116"/>
                      <a:pt x="1233" y="202"/>
                      <a:pt x="1261" y="288"/>
                    </a:cubicBezTo>
                    <a:cubicBezTo>
                      <a:pt x="1277" y="336"/>
                      <a:pt x="1294" y="384"/>
                      <a:pt x="1311" y="432"/>
                    </a:cubicBezTo>
                    <a:close/>
                    <a:moveTo>
                      <a:pt x="878" y="177"/>
                    </a:moveTo>
                    <a:cubicBezTo>
                      <a:pt x="727" y="177"/>
                      <a:pt x="580" y="177"/>
                      <a:pt x="431" y="177"/>
                    </a:cubicBezTo>
                    <a:cubicBezTo>
                      <a:pt x="426" y="232"/>
                      <a:pt x="421" y="286"/>
                      <a:pt x="417" y="341"/>
                    </a:cubicBezTo>
                    <a:cubicBezTo>
                      <a:pt x="578" y="341"/>
                      <a:pt x="736" y="341"/>
                      <a:pt x="895" y="341"/>
                    </a:cubicBezTo>
                    <a:cubicBezTo>
                      <a:pt x="889" y="285"/>
                      <a:pt x="884" y="231"/>
                      <a:pt x="878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765">
                  <a:solidFill>
                    <a:srgbClr val="50505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8B52C4C3-8D23-45C5-B458-0343B125F5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4288" y="2947988"/>
                <a:ext cx="1330325" cy="939800"/>
              </a:xfrm>
              <a:custGeom>
                <a:avLst/>
                <a:gdLst>
                  <a:gd name="T0" fmla="*/ 540 w 1076"/>
                  <a:gd name="T1" fmla="*/ 0 h 760"/>
                  <a:gd name="T2" fmla="*/ 1026 w 1076"/>
                  <a:gd name="T3" fmla="*/ 0 h 760"/>
                  <a:gd name="T4" fmla="*/ 1076 w 1076"/>
                  <a:gd name="T5" fmla="*/ 50 h 760"/>
                  <a:gd name="T6" fmla="*/ 1076 w 1076"/>
                  <a:gd name="T7" fmla="*/ 710 h 760"/>
                  <a:gd name="T8" fmla="*/ 1027 w 1076"/>
                  <a:gd name="T9" fmla="*/ 760 h 760"/>
                  <a:gd name="T10" fmla="*/ 49 w 1076"/>
                  <a:gd name="T11" fmla="*/ 760 h 760"/>
                  <a:gd name="T12" fmla="*/ 0 w 1076"/>
                  <a:gd name="T13" fmla="*/ 710 h 760"/>
                  <a:gd name="T14" fmla="*/ 0 w 1076"/>
                  <a:gd name="T15" fmla="*/ 50 h 760"/>
                  <a:gd name="T16" fmla="*/ 52 w 1076"/>
                  <a:gd name="T17" fmla="*/ 0 h 760"/>
                  <a:gd name="T18" fmla="*/ 540 w 1076"/>
                  <a:gd name="T19" fmla="*/ 0 h 760"/>
                  <a:gd name="T20" fmla="*/ 99 w 1076"/>
                  <a:gd name="T21" fmla="*/ 90 h 760"/>
                  <a:gd name="T22" fmla="*/ 99 w 1076"/>
                  <a:gd name="T23" fmla="*/ 660 h 760"/>
                  <a:gd name="T24" fmla="*/ 976 w 1076"/>
                  <a:gd name="T25" fmla="*/ 660 h 760"/>
                  <a:gd name="T26" fmla="*/ 976 w 1076"/>
                  <a:gd name="T27" fmla="*/ 90 h 760"/>
                  <a:gd name="T28" fmla="*/ 99 w 1076"/>
                  <a:gd name="T29" fmla="*/ 9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76" h="760">
                    <a:moveTo>
                      <a:pt x="540" y="0"/>
                    </a:moveTo>
                    <a:cubicBezTo>
                      <a:pt x="702" y="0"/>
                      <a:pt x="864" y="0"/>
                      <a:pt x="1026" y="0"/>
                    </a:cubicBezTo>
                    <a:cubicBezTo>
                      <a:pt x="1067" y="0"/>
                      <a:pt x="1076" y="9"/>
                      <a:pt x="1076" y="50"/>
                    </a:cubicBezTo>
                    <a:cubicBezTo>
                      <a:pt x="1076" y="270"/>
                      <a:pt x="1076" y="490"/>
                      <a:pt x="1076" y="710"/>
                    </a:cubicBezTo>
                    <a:cubicBezTo>
                      <a:pt x="1076" y="752"/>
                      <a:pt x="1068" y="760"/>
                      <a:pt x="1027" y="760"/>
                    </a:cubicBezTo>
                    <a:cubicBezTo>
                      <a:pt x="701" y="760"/>
                      <a:pt x="375" y="760"/>
                      <a:pt x="49" y="760"/>
                    </a:cubicBezTo>
                    <a:cubicBezTo>
                      <a:pt x="8" y="760"/>
                      <a:pt x="0" y="751"/>
                      <a:pt x="0" y="710"/>
                    </a:cubicBezTo>
                    <a:cubicBezTo>
                      <a:pt x="0" y="490"/>
                      <a:pt x="0" y="270"/>
                      <a:pt x="0" y="50"/>
                    </a:cubicBezTo>
                    <a:cubicBezTo>
                      <a:pt x="0" y="9"/>
                      <a:pt x="9" y="0"/>
                      <a:pt x="52" y="0"/>
                    </a:cubicBezTo>
                    <a:cubicBezTo>
                      <a:pt x="214" y="0"/>
                      <a:pt x="377" y="0"/>
                      <a:pt x="540" y="0"/>
                    </a:cubicBezTo>
                    <a:close/>
                    <a:moveTo>
                      <a:pt x="99" y="90"/>
                    </a:moveTo>
                    <a:cubicBezTo>
                      <a:pt x="99" y="282"/>
                      <a:pt x="99" y="471"/>
                      <a:pt x="99" y="660"/>
                    </a:cubicBezTo>
                    <a:cubicBezTo>
                      <a:pt x="393" y="660"/>
                      <a:pt x="685" y="660"/>
                      <a:pt x="976" y="660"/>
                    </a:cubicBezTo>
                    <a:cubicBezTo>
                      <a:pt x="976" y="469"/>
                      <a:pt x="976" y="280"/>
                      <a:pt x="976" y="90"/>
                    </a:cubicBezTo>
                    <a:cubicBezTo>
                      <a:pt x="683" y="90"/>
                      <a:pt x="392" y="90"/>
                      <a:pt x="99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765">
                  <a:solidFill>
                    <a:srgbClr val="50505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46084672-9B77-43B5-9790-06F4546748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73850" y="3254376"/>
                <a:ext cx="714375" cy="354013"/>
              </a:xfrm>
              <a:custGeom>
                <a:avLst/>
                <a:gdLst>
                  <a:gd name="T0" fmla="*/ 569 w 579"/>
                  <a:gd name="T1" fmla="*/ 116 h 286"/>
                  <a:gd name="T2" fmla="*/ 550 w 579"/>
                  <a:gd name="T3" fmla="*/ 117 h 286"/>
                  <a:gd name="T4" fmla="*/ 310 w 579"/>
                  <a:gd name="T5" fmla="*/ 117 h 286"/>
                  <a:gd name="T6" fmla="*/ 280 w 579"/>
                  <a:gd name="T7" fmla="*/ 135 h 286"/>
                  <a:gd name="T8" fmla="*/ 299 w 579"/>
                  <a:gd name="T9" fmla="*/ 136 h 286"/>
                  <a:gd name="T10" fmla="*/ 548 w 579"/>
                  <a:gd name="T11" fmla="*/ 136 h 286"/>
                  <a:gd name="T12" fmla="*/ 562 w 579"/>
                  <a:gd name="T13" fmla="*/ 137 h 286"/>
                  <a:gd name="T14" fmla="*/ 571 w 579"/>
                  <a:gd name="T15" fmla="*/ 155 h 286"/>
                  <a:gd name="T16" fmla="*/ 536 w 579"/>
                  <a:gd name="T17" fmla="*/ 190 h 286"/>
                  <a:gd name="T18" fmla="*/ 513 w 579"/>
                  <a:gd name="T19" fmla="*/ 184 h 286"/>
                  <a:gd name="T20" fmla="*/ 470 w 579"/>
                  <a:gd name="T21" fmla="*/ 184 h 286"/>
                  <a:gd name="T22" fmla="*/ 438 w 579"/>
                  <a:gd name="T23" fmla="*/ 185 h 286"/>
                  <a:gd name="T24" fmla="*/ 402 w 579"/>
                  <a:gd name="T25" fmla="*/ 185 h 286"/>
                  <a:gd name="T26" fmla="*/ 360 w 579"/>
                  <a:gd name="T27" fmla="*/ 182 h 286"/>
                  <a:gd name="T28" fmla="*/ 346 w 579"/>
                  <a:gd name="T29" fmla="*/ 165 h 286"/>
                  <a:gd name="T30" fmla="*/ 311 w 579"/>
                  <a:gd name="T31" fmla="*/ 174 h 286"/>
                  <a:gd name="T32" fmla="*/ 274 w 579"/>
                  <a:gd name="T33" fmla="*/ 193 h 286"/>
                  <a:gd name="T34" fmla="*/ 247 w 579"/>
                  <a:gd name="T35" fmla="*/ 209 h 286"/>
                  <a:gd name="T36" fmla="*/ 99 w 579"/>
                  <a:gd name="T37" fmla="*/ 271 h 286"/>
                  <a:gd name="T38" fmla="*/ 1 w 579"/>
                  <a:gd name="T39" fmla="*/ 146 h 286"/>
                  <a:gd name="T40" fmla="*/ 95 w 579"/>
                  <a:gd name="T41" fmla="*/ 17 h 286"/>
                  <a:gd name="T42" fmla="*/ 246 w 579"/>
                  <a:gd name="T43" fmla="*/ 76 h 286"/>
                  <a:gd name="T44" fmla="*/ 279 w 579"/>
                  <a:gd name="T45" fmla="*/ 94 h 286"/>
                  <a:gd name="T46" fmla="*/ 534 w 579"/>
                  <a:gd name="T47" fmla="*/ 94 h 286"/>
                  <a:gd name="T48" fmla="*/ 569 w 579"/>
                  <a:gd name="T49" fmla="*/ 116 h 286"/>
                  <a:gd name="T50" fmla="*/ 106 w 579"/>
                  <a:gd name="T51" fmla="*/ 143 h 286"/>
                  <a:gd name="T52" fmla="*/ 73 w 579"/>
                  <a:gd name="T53" fmla="*/ 111 h 286"/>
                  <a:gd name="T54" fmla="*/ 40 w 579"/>
                  <a:gd name="T55" fmla="*/ 144 h 286"/>
                  <a:gd name="T56" fmla="*/ 74 w 579"/>
                  <a:gd name="T57" fmla="*/ 176 h 286"/>
                  <a:gd name="T58" fmla="*/ 106 w 579"/>
                  <a:gd name="T59" fmla="*/ 143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79" h="286">
                    <a:moveTo>
                      <a:pt x="569" y="116"/>
                    </a:moveTo>
                    <a:cubicBezTo>
                      <a:pt x="561" y="116"/>
                      <a:pt x="556" y="117"/>
                      <a:pt x="550" y="117"/>
                    </a:cubicBezTo>
                    <a:cubicBezTo>
                      <a:pt x="470" y="117"/>
                      <a:pt x="390" y="117"/>
                      <a:pt x="310" y="117"/>
                    </a:cubicBezTo>
                    <a:cubicBezTo>
                      <a:pt x="297" y="117"/>
                      <a:pt x="286" y="120"/>
                      <a:pt x="280" y="135"/>
                    </a:cubicBezTo>
                    <a:cubicBezTo>
                      <a:pt x="287" y="136"/>
                      <a:pt x="293" y="136"/>
                      <a:pt x="299" y="136"/>
                    </a:cubicBezTo>
                    <a:cubicBezTo>
                      <a:pt x="382" y="136"/>
                      <a:pt x="465" y="136"/>
                      <a:pt x="548" y="136"/>
                    </a:cubicBezTo>
                    <a:cubicBezTo>
                      <a:pt x="553" y="136"/>
                      <a:pt x="558" y="136"/>
                      <a:pt x="562" y="137"/>
                    </a:cubicBezTo>
                    <a:cubicBezTo>
                      <a:pt x="574" y="138"/>
                      <a:pt x="579" y="146"/>
                      <a:pt x="571" y="155"/>
                    </a:cubicBezTo>
                    <a:cubicBezTo>
                      <a:pt x="561" y="167"/>
                      <a:pt x="549" y="179"/>
                      <a:pt x="536" y="190"/>
                    </a:cubicBezTo>
                    <a:cubicBezTo>
                      <a:pt x="528" y="197"/>
                      <a:pt x="520" y="192"/>
                      <a:pt x="513" y="184"/>
                    </a:cubicBezTo>
                    <a:cubicBezTo>
                      <a:pt x="498" y="163"/>
                      <a:pt x="487" y="164"/>
                      <a:pt x="470" y="184"/>
                    </a:cubicBezTo>
                    <a:cubicBezTo>
                      <a:pt x="461" y="196"/>
                      <a:pt x="448" y="196"/>
                      <a:pt x="438" y="185"/>
                    </a:cubicBezTo>
                    <a:cubicBezTo>
                      <a:pt x="426" y="172"/>
                      <a:pt x="414" y="172"/>
                      <a:pt x="402" y="185"/>
                    </a:cubicBezTo>
                    <a:cubicBezTo>
                      <a:pt x="391" y="198"/>
                      <a:pt x="371" y="196"/>
                      <a:pt x="360" y="182"/>
                    </a:cubicBezTo>
                    <a:cubicBezTo>
                      <a:pt x="356" y="177"/>
                      <a:pt x="352" y="170"/>
                      <a:pt x="346" y="165"/>
                    </a:cubicBezTo>
                    <a:cubicBezTo>
                      <a:pt x="336" y="158"/>
                      <a:pt x="318" y="162"/>
                      <a:pt x="311" y="174"/>
                    </a:cubicBezTo>
                    <a:cubicBezTo>
                      <a:pt x="302" y="189"/>
                      <a:pt x="291" y="196"/>
                      <a:pt x="274" y="193"/>
                    </a:cubicBezTo>
                    <a:cubicBezTo>
                      <a:pt x="261" y="191"/>
                      <a:pt x="254" y="198"/>
                      <a:pt x="247" y="209"/>
                    </a:cubicBezTo>
                    <a:cubicBezTo>
                      <a:pt x="217" y="261"/>
                      <a:pt x="156" y="286"/>
                      <a:pt x="99" y="271"/>
                    </a:cubicBezTo>
                    <a:cubicBezTo>
                      <a:pt x="42" y="256"/>
                      <a:pt x="2" y="204"/>
                      <a:pt x="1" y="146"/>
                    </a:cubicBezTo>
                    <a:cubicBezTo>
                      <a:pt x="0" y="87"/>
                      <a:pt x="39" y="34"/>
                      <a:pt x="95" y="17"/>
                    </a:cubicBezTo>
                    <a:cubicBezTo>
                      <a:pt x="153" y="0"/>
                      <a:pt x="215" y="24"/>
                      <a:pt x="246" y="76"/>
                    </a:cubicBezTo>
                    <a:cubicBezTo>
                      <a:pt x="254" y="90"/>
                      <a:pt x="264" y="95"/>
                      <a:pt x="279" y="94"/>
                    </a:cubicBezTo>
                    <a:cubicBezTo>
                      <a:pt x="364" y="94"/>
                      <a:pt x="449" y="94"/>
                      <a:pt x="534" y="94"/>
                    </a:cubicBezTo>
                    <a:cubicBezTo>
                      <a:pt x="550" y="94"/>
                      <a:pt x="560" y="101"/>
                      <a:pt x="569" y="116"/>
                    </a:cubicBezTo>
                    <a:close/>
                    <a:moveTo>
                      <a:pt x="106" y="143"/>
                    </a:moveTo>
                    <a:cubicBezTo>
                      <a:pt x="106" y="124"/>
                      <a:pt x="92" y="111"/>
                      <a:pt x="73" y="111"/>
                    </a:cubicBezTo>
                    <a:cubicBezTo>
                      <a:pt x="55" y="112"/>
                      <a:pt x="40" y="126"/>
                      <a:pt x="40" y="144"/>
                    </a:cubicBezTo>
                    <a:cubicBezTo>
                      <a:pt x="41" y="162"/>
                      <a:pt x="55" y="176"/>
                      <a:pt x="74" y="176"/>
                    </a:cubicBezTo>
                    <a:cubicBezTo>
                      <a:pt x="93" y="176"/>
                      <a:pt x="106" y="162"/>
                      <a:pt x="106" y="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30" tIns="44814" rIns="89630" bIns="44814" numCol="1" anchor="t" anchorCtr="0" compatLnSpc="1">
                <a:prstTxWarp prst="textNoShape">
                  <a:avLst/>
                </a:prstTxWarp>
              </a:bodyPr>
              <a:lstStyle/>
              <a:p>
                <a:pPr defTabSz="914367"/>
                <a:endParaRPr lang="en-US" sz="1765">
                  <a:solidFill>
                    <a:srgbClr val="505050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9" name="Text Placeholder 2">
              <a:extLst>
                <a:ext uri="{FF2B5EF4-FFF2-40B4-BE49-F238E27FC236}">
                  <a16:creationId xmlns:a16="http://schemas.microsoft.com/office/drawing/2014/main" id="{39C52B35-8B4E-457F-B34D-4506E7B756C5}"/>
                </a:ext>
              </a:extLst>
            </p:cNvPr>
            <p:cNvSpPr txBox="1">
              <a:spLocks/>
            </p:cNvSpPr>
            <p:nvPr/>
          </p:nvSpPr>
          <p:spPr>
            <a:xfrm>
              <a:off x="8679879" y="4182243"/>
              <a:ext cx="2960737" cy="30592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>
              <a:lvl1pPr marL="342900" marR="0" indent="-3429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sz="4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j-lt"/>
                  <a:ea typeface="+mn-ea"/>
                  <a:cs typeface="+mn-cs"/>
                </a:defRPr>
              </a:lvl1pPr>
              <a:lvl2pPr marL="584200" marR="0" indent="-2413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sz="24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8001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sz="20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0287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257300" marR="0" indent="-228600" algn="l" defTabSz="932742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sz="1800" kern="1200" spc="0" baseline="0">
                  <a:gradFill>
                    <a:gsLst>
                      <a:gs pos="125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65040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412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783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4155" indent="-233186" algn="l" defTabSz="932742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367">
                <a:spcBef>
                  <a:spcPts val="2353"/>
                </a:spcBef>
                <a:spcAft>
                  <a:spcPts val="1765"/>
                </a:spcAft>
                <a:buClr>
                  <a:srgbClr val="001F50"/>
                </a:buClr>
                <a:buNone/>
              </a:pPr>
              <a:r>
                <a:rPr lang="en-US" sz="2400" dirty="0">
                  <a:solidFill>
                    <a:srgbClr val="0070C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ssume Breach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BBD2280-B595-453F-BA7E-5AC5CA971B83}"/>
                </a:ext>
              </a:extLst>
            </p:cNvPr>
            <p:cNvGrpSpPr/>
            <p:nvPr/>
          </p:nvGrpSpPr>
          <p:grpSpPr>
            <a:xfrm>
              <a:off x="7873221" y="4719821"/>
              <a:ext cx="3410119" cy="1363322"/>
              <a:chOff x="1189038" y="1666197"/>
              <a:chExt cx="3204730" cy="1390856"/>
            </a:xfrm>
            <a:solidFill>
              <a:srgbClr val="0070C0"/>
            </a:solidFill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C4BDF29B-604E-4F8A-A2D8-3F4A98C88079}"/>
                  </a:ext>
                </a:extLst>
              </p:cNvPr>
              <p:cNvSpPr/>
              <p:nvPr/>
            </p:nvSpPr>
            <p:spPr>
              <a:xfrm>
                <a:off x="1193368" y="1666197"/>
                <a:ext cx="3200400" cy="33832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War game exercises </a:t>
                </a:r>
                <a:endParaRPr lang="en-US" sz="1175" spc="-2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FAE6CE66-2DF7-41EC-9637-401609FBFF17}"/>
                  </a:ext>
                </a:extLst>
              </p:cNvPr>
              <p:cNvSpPr/>
              <p:nvPr/>
            </p:nvSpPr>
            <p:spPr>
              <a:xfrm>
                <a:off x="1189038" y="2040352"/>
                <a:ext cx="3200400" cy="33829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entral security monitors </a:t>
                </a:r>
                <a:endParaRPr lang="en-US" sz="1175" spc="-2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A7F732BE-32BA-407F-BF09-4FBF34232E6E}"/>
                  </a:ext>
                </a:extLst>
              </p:cNvPr>
              <p:cNvSpPr/>
              <p:nvPr/>
            </p:nvSpPr>
            <p:spPr>
              <a:xfrm>
                <a:off x="1189038" y="2414476"/>
                <a:ext cx="3200400" cy="642577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Live site penetration test </a:t>
                </a:r>
                <a:endParaRPr lang="en-US" sz="1175" spc="-2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4680159-4199-4322-91D2-7620E53A9A2C}"/>
              </a:ext>
            </a:extLst>
          </p:cNvPr>
          <p:cNvGrpSpPr/>
          <p:nvPr/>
        </p:nvGrpSpPr>
        <p:grpSpPr>
          <a:xfrm>
            <a:off x="551384" y="1813824"/>
            <a:ext cx="3449559" cy="2450459"/>
            <a:chOff x="1193367" y="3171576"/>
            <a:chExt cx="3204477" cy="2499951"/>
          </a:xfrm>
        </p:grpSpPr>
        <p:sp>
          <p:nvSpPr>
            <p:cNvPr id="15" name="Text Placeholder 2">
              <a:extLst>
                <a:ext uri="{FF2B5EF4-FFF2-40B4-BE49-F238E27FC236}">
                  <a16:creationId xmlns:a16="http://schemas.microsoft.com/office/drawing/2014/main" id="{29CA4786-E7BF-4F43-8EF7-74324B9129FD}"/>
                </a:ext>
              </a:extLst>
            </p:cNvPr>
            <p:cNvSpPr txBox="1">
              <a:spLocks/>
            </p:cNvSpPr>
            <p:nvPr/>
          </p:nvSpPr>
          <p:spPr>
            <a:xfrm>
              <a:off x="1870984" y="3374174"/>
              <a:ext cx="2334636" cy="31210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1208380" rtl="0" eaLnBrk="1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1200"/>
                </a:spcAft>
                <a:buFontTx/>
                <a:buNone/>
                <a:defRPr sz="4000" kern="1200" baseline="0">
                  <a:solidFill>
                    <a:schemeClr val="tx1"/>
                  </a:solidFill>
                  <a:latin typeface="Segoe UI Light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1pPr>
              <a:lvl2pPr marL="0" marR="0" indent="0" algn="l" defTabSz="1208380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 sz="2000" kern="1200" baseline="0">
                  <a:solidFill>
                    <a:schemeClr val="tx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2pPr>
              <a:lvl3pPr marL="0" indent="0" algn="l" defTabSz="120838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 sz="2000" kern="1200">
                  <a:solidFill>
                    <a:srgbClr val="58595B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3pPr>
              <a:lvl4pPr marL="0" indent="0" algn="l" defTabSz="120838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 sz="2000" kern="1200">
                  <a:solidFill>
                    <a:srgbClr val="58595B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4pPr>
              <a:lvl5pPr marL="0" indent="0" algn="l" defTabSz="120838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FontTx/>
                <a:buNone/>
                <a:defRPr sz="2000" kern="1200">
                  <a:solidFill>
                    <a:srgbClr val="58595B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defRPr>
              </a:lvl5pPr>
              <a:lvl6pPr marL="3323044" indent="-302095" algn="l" defTabSz="120838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27234" indent="-302095" algn="l" defTabSz="120838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31424" indent="-302095" algn="l" defTabSz="120838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35613" indent="-302095" algn="l" defTabSz="120838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184575">
                <a:spcBef>
                  <a:spcPts val="2353"/>
                </a:spcBef>
                <a:spcAft>
                  <a:spcPts val="1765"/>
                </a:spcAft>
              </a:pPr>
              <a:r>
                <a:rPr lang="en-US" sz="2400" dirty="0">
                  <a:solidFill>
                    <a:srgbClr val="C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event Breach</a:t>
              </a:r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67EA905-A839-4449-8B35-FE24EA4C5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764" y="3171576"/>
              <a:ext cx="484631" cy="642313"/>
            </a:xfrm>
            <a:custGeom>
              <a:avLst/>
              <a:gdLst>
                <a:gd name="T0" fmla="*/ 154 w 937"/>
                <a:gd name="T1" fmla="*/ 632 h 1242"/>
                <a:gd name="T2" fmla="*/ 186 w 937"/>
                <a:gd name="T3" fmla="*/ 542 h 1242"/>
                <a:gd name="T4" fmla="*/ 169 w 937"/>
                <a:gd name="T5" fmla="*/ 196 h 1242"/>
                <a:gd name="T6" fmla="*/ 171 w 937"/>
                <a:gd name="T7" fmla="*/ 153 h 1242"/>
                <a:gd name="T8" fmla="*/ 242 w 937"/>
                <a:gd name="T9" fmla="*/ 92 h 1242"/>
                <a:gd name="T10" fmla="*/ 294 w 937"/>
                <a:gd name="T11" fmla="*/ 160 h 1242"/>
                <a:gd name="T12" fmla="*/ 316 w 937"/>
                <a:gd name="T13" fmla="*/ 541 h 1242"/>
                <a:gd name="T14" fmla="*/ 331 w 937"/>
                <a:gd name="T15" fmla="*/ 587 h 1242"/>
                <a:gd name="T16" fmla="*/ 349 w 937"/>
                <a:gd name="T17" fmla="*/ 586 h 1242"/>
                <a:gd name="T18" fmla="*/ 363 w 937"/>
                <a:gd name="T19" fmla="*/ 536 h 1242"/>
                <a:gd name="T20" fmla="*/ 365 w 937"/>
                <a:gd name="T21" fmla="*/ 169 h 1242"/>
                <a:gd name="T22" fmla="*/ 370 w 937"/>
                <a:gd name="T23" fmla="*/ 55 h 1242"/>
                <a:gd name="T24" fmla="*/ 430 w 937"/>
                <a:gd name="T25" fmla="*/ 0 h 1242"/>
                <a:gd name="T26" fmla="*/ 492 w 937"/>
                <a:gd name="T27" fmla="*/ 54 h 1242"/>
                <a:gd name="T28" fmla="*/ 497 w 937"/>
                <a:gd name="T29" fmla="*/ 137 h 1242"/>
                <a:gd name="T30" fmla="*/ 499 w 937"/>
                <a:gd name="T31" fmla="*/ 523 h 1242"/>
                <a:gd name="T32" fmla="*/ 499 w 937"/>
                <a:gd name="T33" fmla="*/ 568 h 1242"/>
                <a:gd name="T34" fmla="*/ 553 w 937"/>
                <a:gd name="T35" fmla="*/ 537 h 1242"/>
                <a:gd name="T36" fmla="*/ 569 w 937"/>
                <a:gd name="T37" fmla="*/ 293 h 1242"/>
                <a:gd name="T38" fmla="*/ 582 w 937"/>
                <a:gd name="T39" fmla="*/ 152 h 1242"/>
                <a:gd name="T40" fmla="*/ 632 w 937"/>
                <a:gd name="T41" fmla="*/ 96 h 1242"/>
                <a:gd name="T42" fmla="*/ 697 w 937"/>
                <a:gd name="T43" fmla="*/ 143 h 1242"/>
                <a:gd name="T44" fmla="*/ 703 w 937"/>
                <a:gd name="T45" fmla="*/ 182 h 1242"/>
                <a:gd name="T46" fmla="*/ 679 w 937"/>
                <a:gd name="T47" fmla="*/ 702 h 1242"/>
                <a:gd name="T48" fmla="*/ 672 w 937"/>
                <a:gd name="T49" fmla="*/ 743 h 1242"/>
                <a:gd name="T50" fmla="*/ 411 w 937"/>
                <a:gd name="T51" fmla="*/ 982 h 1242"/>
                <a:gd name="T52" fmla="*/ 387 w 937"/>
                <a:gd name="T53" fmla="*/ 1119 h 1242"/>
                <a:gd name="T54" fmla="*/ 399 w 937"/>
                <a:gd name="T55" fmla="*/ 1122 h 1242"/>
                <a:gd name="T56" fmla="*/ 410 w 937"/>
                <a:gd name="T57" fmla="*/ 1089 h 1242"/>
                <a:gd name="T58" fmla="*/ 529 w 937"/>
                <a:gd name="T59" fmla="*/ 857 h 1242"/>
                <a:gd name="T60" fmla="*/ 667 w 937"/>
                <a:gd name="T61" fmla="*/ 798 h 1242"/>
                <a:gd name="T62" fmla="*/ 687 w 937"/>
                <a:gd name="T63" fmla="*/ 847 h 1242"/>
                <a:gd name="T64" fmla="*/ 703 w 937"/>
                <a:gd name="T65" fmla="*/ 795 h 1242"/>
                <a:gd name="T66" fmla="*/ 768 w 937"/>
                <a:gd name="T67" fmla="*/ 648 h 1242"/>
                <a:gd name="T68" fmla="*/ 879 w 937"/>
                <a:gd name="T69" fmla="*/ 577 h 1242"/>
                <a:gd name="T70" fmla="*/ 928 w 937"/>
                <a:gd name="T71" fmla="*/ 640 h 1242"/>
                <a:gd name="T72" fmla="*/ 914 w 937"/>
                <a:gd name="T73" fmla="*/ 676 h 1242"/>
                <a:gd name="T74" fmla="*/ 803 w 937"/>
                <a:gd name="T75" fmla="*/ 983 h 1242"/>
                <a:gd name="T76" fmla="*/ 487 w 937"/>
                <a:gd name="T77" fmla="*/ 1233 h 1242"/>
                <a:gd name="T78" fmla="*/ 238 w 937"/>
                <a:gd name="T79" fmla="*/ 1233 h 1242"/>
                <a:gd name="T80" fmla="*/ 70 w 937"/>
                <a:gd name="T81" fmla="*/ 1118 h 1242"/>
                <a:gd name="T82" fmla="*/ 34 w 937"/>
                <a:gd name="T83" fmla="*/ 918 h 1242"/>
                <a:gd name="T84" fmla="*/ 13 w 937"/>
                <a:gd name="T85" fmla="*/ 584 h 1242"/>
                <a:gd name="T86" fmla="*/ 1 w 937"/>
                <a:gd name="T87" fmla="*/ 309 h 1242"/>
                <a:gd name="T88" fmla="*/ 7 w 937"/>
                <a:gd name="T89" fmla="*/ 275 h 1242"/>
                <a:gd name="T90" fmla="*/ 67 w 937"/>
                <a:gd name="T91" fmla="*/ 229 h 1242"/>
                <a:gd name="T92" fmla="*/ 104 w 937"/>
                <a:gd name="T93" fmla="*/ 287 h 1242"/>
                <a:gd name="T94" fmla="*/ 136 w 937"/>
                <a:gd name="T95" fmla="*/ 584 h 1242"/>
                <a:gd name="T96" fmla="*/ 154 w 937"/>
                <a:gd name="T97" fmla="*/ 632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37" h="1242">
                  <a:moveTo>
                    <a:pt x="154" y="632"/>
                  </a:moveTo>
                  <a:cubicBezTo>
                    <a:pt x="195" y="603"/>
                    <a:pt x="187" y="571"/>
                    <a:pt x="186" y="542"/>
                  </a:cubicBezTo>
                  <a:cubicBezTo>
                    <a:pt x="181" y="427"/>
                    <a:pt x="174" y="311"/>
                    <a:pt x="169" y="196"/>
                  </a:cubicBezTo>
                  <a:cubicBezTo>
                    <a:pt x="168" y="182"/>
                    <a:pt x="168" y="167"/>
                    <a:pt x="171" y="153"/>
                  </a:cubicBezTo>
                  <a:cubicBezTo>
                    <a:pt x="178" y="115"/>
                    <a:pt x="208" y="90"/>
                    <a:pt x="242" y="92"/>
                  </a:cubicBezTo>
                  <a:cubicBezTo>
                    <a:pt x="275" y="95"/>
                    <a:pt x="292" y="116"/>
                    <a:pt x="294" y="160"/>
                  </a:cubicBezTo>
                  <a:cubicBezTo>
                    <a:pt x="301" y="287"/>
                    <a:pt x="308" y="414"/>
                    <a:pt x="316" y="541"/>
                  </a:cubicBezTo>
                  <a:cubicBezTo>
                    <a:pt x="316" y="557"/>
                    <a:pt x="326" y="571"/>
                    <a:pt x="331" y="587"/>
                  </a:cubicBezTo>
                  <a:cubicBezTo>
                    <a:pt x="337" y="586"/>
                    <a:pt x="343" y="586"/>
                    <a:pt x="349" y="586"/>
                  </a:cubicBezTo>
                  <a:cubicBezTo>
                    <a:pt x="354" y="569"/>
                    <a:pt x="362" y="552"/>
                    <a:pt x="363" y="536"/>
                  </a:cubicBezTo>
                  <a:cubicBezTo>
                    <a:pt x="364" y="413"/>
                    <a:pt x="364" y="291"/>
                    <a:pt x="365" y="169"/>
                  </a:cubicBezTo>
                  <a:cubicBezTo>
                    <a:pt x="365" y="131"/>
                    <a:pt x="367" y="93"/>
                    <a:pt x="370" y="55"/>
                  </a:cubicBezTo>
                  <a:cubicBezTo>
                    <a:pt x="374" y="18"/>
                    <a:pt x="395" y="0"/>
                    <a:pt x="430" y="0"/>
                  </a:cubicBezTo>
                  <a:cubicBezTo>
                    <a:pt x="465" y="1"/>
                    <a:pt x="487" y="19"/>
                    <a:pt x="492" y="54"/>
                  </a:cubicBezTo>
                  <a:cubicBezTo>
                    <a:pt x="496" y="81"/>
                    <a:pt x="496" y="109"/>
                    <a:pt x="497" y="137"/>
                  </a:cubicBezTo>
                  <a:cubicBezTo>
                    <a:pt x="498" y="265"/>
                    <a:pt x="498" y="394"/>
                    <a:pt x="499" y="523"/>
                  </a:cubicBezTo>
                  <a:cubicBezTo>
                    <a:pt x="499" y="539"/>
                    <a:pt x="499" y="554"/>
                    <a:pt x="499" y="568"/>
                  </a:cubicBezTo>
                  <a:cubicBezTo>
                    <a:pt x="534" y="587"/>
                    <a:pt x="550" y="577"/>
                    <a:pt x="553" y="537"/>
                  </a:cubicBezTo>
                  <a:cubicBezTo>
                    <a:pt x="559" y="456"/>
                    <a:pt x="563" y="374"/>
                    <a:pt x="569" y="293"/>
                  </a:cubicBezTo>
                  <a:cubicBezTo>
                    <a:pt x="573" y="246"/>
                    <a:pt x="577" y="199"/>
                    <a:pt x="582" y="152"/>
                  </a:cubicBezTo>
                  <a:cubicBezTo>
                    <a:pt x="585" y="121"/>
                    <a:pt x="599" y="98"/>
                    <a:pt x="632" y="96"/>
                  </a:cubicBezTo>
                  <a:cubicBezTo>
                    <a:pt x="665" y="94"/>
                    <a:pt x="687" y="113"/>
                    <a:pt x="697" y="143"/>
                  </a:cubicBezTo>
                  <a:cubicBezTo>
                    <a:pt x="701" y="155"/>
                    <a:pt x="703" y="169"/>
                    <a:pt x="703" y="182"/>
                  </a:cubicBezTo>
                  <a:cubicBezTo>
                    <a:pt x="695" y="355"/>
                    <a:pt x="687" y="528"/>
                    <a:pt x="679" y="702"/>
                  </a:cubicBezTo>
                  <a:cubicBezTo>
                    <a:pt x="678" y="714"/>
                    <a:pt x="675" y="727"/>
                    <a:pt x="672" y="743"/>
                  </a:cubicBezTo>
                  <a:cubicBezTo>
                    <a:pt x="530" y="762"/>
                    <a:pt x="457" y="860"/>
                    <a:pt x="411" y="982"/>
                  </a:cubicBezTo>
                  <a:cubicBezTo>
                    <a:pt x="394" y="1025"/>
                    <a:pt x="377" y="1071"/>
                    <a:pt x="387" y="1119"/>
                  </a:cubicBezTo>
                  <a:cubicBezTo>
                    <a:pt x="391" y="1120"/>
                    <a:pt x="395" y="1121"/>
                    <a:pt x="399" y="1122"/>
                  </a:cubicBezTo>
                  <a:cubicBezTo>
                    <a:pt x="403" y="1111"/>
                    <a:pt x="408" y="1100"/>
                    <a:pt x="410" y="1089"/>
                  </a:cubicBezTo>
                  <a:cubicBezTo>
                    <a:pt x="429" y="1000"/>
                    <a:pt x="469" y="924"/>
                    <a:pt x="529" y="857"/>
                  </a:cubicBezTo>
                  <a:cubicBezTo>
                    <a:pt x="570" y="810"/>
                    <a:pt x="624" y="787"/>
                    <a:pt x="667" y="798"/>
                  </a:cubicBezTo>
                  <a:cubicBezTo>
                    <a:pt x="672" y="810"/>
                    <a:pt x="677" y="822"/>
                    <a:pt x="687" y="847"/>
                  </a:cubicBezTo>
                  <a:cubicBezTo>
                    <a:pt x="694" y="823"/>
                    <a:pt x="697" y="808"/>
                    <a:pt x="703" y="795"/>
                  </a:cubicBezTo>
                  <a:cubicBezTo>
                    <a:pt x="724" y="745"/>
                    <a:pt x="742" y="694"/>
                    <a:pt x="768" y="648"/>
                  </a:cubicBezTo>
                  <a:cubicBezTo>
                    <a:pt x="791" y="607"/>
                    <a:pt x="827" y="576"/>
                    <a:pt x="879" y="577"/>
                  </a:cubicBezTo>
                  <a:cubicBezTo>
                    <a:pt x="917" y="577"/>
                    <a:pt x="937" y="603"/>
                    <a:pt x="928" y="640"/>
                  </a:cubicBezTo>
                  <a:cubicBezTo>
                    <a:pt x="925" y="652"/>
                    <a:pt x="919" y="664"/>
                    <a:pt x="914" y="676"/>
                  </a:cubicBezTo>
                  <a:cubicBezTo>
                    <a:pt x="877" y="778"/>
                    <a:pt x="837" y="880"/>
                    <a:pt x="803" y="983"/>
                  </a:cubicBezTo>
                  <a:cubicBezTo>
                    <a:pt x="765" y="1098"/>
                    <a:pt x="675" y="1242"/>
                    <a:pt x="487" y="1233"/>
                  </a:cubicBezTo>
                  <a:cubicBezTo>
                    <a:pt x="404" y="1230"/>
                    <a:pt x="321" y="1231"/>
                    <a:pt x="238" y="1233"/>
                  </a:cubicBezTo>
                  <a:cubicBezTo>
                    <a:pt x="154" y="1235"/>
                    <a:pt x="94" y="1195"/>
                    <a:pt x="70" y="1118"/>
                  </a:cubicBezTo>
                  <a:cubicBezTo>
                    <a:pt x="49" y="1054"/>
                    <a:pt x="40" y="985"/>
                    <a:pt x="34" y="918"/>
                  </a:cubicBezTo>
                  <a:cubicBezTo>
                    <a:pt x="23" y="807"/>
                    <a:pt x="19" y="696"/>
                    <a:pt x="13" y="584"/>
                  </a:cubicBezTo>
                  <a:cubicBezTo>
                    <a:pt x="8" y="493"/>
                    <a:pt x="4" y="401"/>
                    <a:pt x="1" y="309"/>
                  </a:cubicBezTo>
                  <a:cubicBezTo>
                    <a:pt x="0" y="298"/>
                    <a:pt x="3" y="285"/>
                    <a:pt x="7" y="275"/>
                  </a:cubicBezTo>
                  <a:cubicBezTo>
                    <a:pt x="17" y="247"/>
                    <a:pt x="34" y="224"/>
                    <a:pt x="67" y="229"/>
                  </a:cubicBezTo>
                  <a:cubicBezTo>
                    <a:pt x="98" y="234"/>
                    <a:pt x="102" y="261"/>
                    <a:pt x="104" y="287"/>
                  </a:cubicBezTo>
                  <a:cubicBezTo>
                    <a:pt x="115" y="386"/>
                    <a:pt x="124" y="485"/>
                    <a:pt x="136" y="584"/>
                  </a:cubicBezTo>
                  <a:cubicBezTo>
                    <a:pt x="137" y="599"/>
                    <a:pt x="146" y="613"/>
                    <a:pt x="154" y="632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vert="horz" wrap="square" lIns="89630" tIns="44814" rIns="89630" bIns="44814" numCol="1" anchor="t" anchorCtr="0" compatLnSpc="1">
              <a:prstTxWarp prst="textNoShape">
                <a:avLst/>
              </a:prstTxWarp>
            </a:bodyPr>
            <a:lstStyle/>
            <a:p>
              <a:pPr defTabSz="914367"/>
              <a:endParaRPr lang="en-US" sz="1765">
                <a:solidFill>
                  <a:srgbClr val="505050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868D08E-2068-4C07-A7A8-C2A527EF0AE0}"/>
                </a:ext>
              </a:extLst>
            </p:cNvPr>
            <p:cNvGrpSpPr/>
            <p:nvPr/>
          </p:nvGrpSpPr>
          <p:grpSpPr>
            <a:xfrm>
              <a:off x="1193367" y="3906546"/>
              <a:ext cx="3204477" cy="1764981"/>
              <a:chOff x="1193367" y="4144691"/>
              <a:chExt cx="3204477" cy="1764981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5766C5A-B83E-4447-9324-D6E41BC8C08E}"/>
                  </a:ext>
                </a:extLst>
              </p:cNvPr>
              <p:cNvSpPr/>
              <p:nvPr/>
            </p:nvSpPr>
            <p:spPr>
              <a:xfrm>
                <a:off x="1197444" y="4144691"/>
                <a:ext cx="3200400" cy="33832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Threat model</a:t>
                </a:r>
                <a:endParaRPr lang="en-US" sz="1175" spc="-2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E2C2400E-B942-46FF-B7AE-C1D3D2B0491D}"/>
                  </a:ext>
                </a:extLst>
              </p:cNvPr>
              <p:cNvSpPr/>
              <p:nvPr/>
            </p:nvSpPr>
            <p:spPr>
              <a:xfrm>
                <a:off x="1193367" y="4518846"/>
                <a:ext cx="3200400" cy="33829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Code review</a:t>
                </a:r>
                <a:endParaRPr lang="en-US" sz="1175" spc="-2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123161D-0F20-411E-83FF-931D529454CD}"/>
                  </a:ext>
                </a:extLst>
              </p:cNvPr>
              <p:cNvSpPr/>
              <p:nvPr/>
            </p:nvSpPr>
            <p:spPr>
              <a:xfrm>
                <a:off x="1193367" y="5267095"/>
                <a:ext cx="3200400" cy="64257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ecurity development lifecycle </a:t>
                </a:r>
                <a:r>
                  <a:rPr lang="en-US" sz="117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(SDL)</a:t>
                </a: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52EA35B-E50F-44A9-85B5-8F8832B42F25}"/>
                  </a:ext>
                </a:extLst>
              </p:cNvPr>
              <p:cNvSpPr/>
              <p:nvPr/>
            </p:nvSpPr>
            <p:spPr>
              <a:xfrm>
                <a:off x="1193367" y="4892970"/>
                <a:ext cx="3200400" cy="338297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30" tIns="224074" rIns="89630" bIns="224074" rtlCol="0" anchor="ctr"/>
              <a:lstStyle/>
              <a:p>
                <a:pPr defTabSz="914367"/>
                <a:r>
                  <a:rPr lang="en-US" sz="1765" spc="-20" dirty="0">
                    <a:solidFill>
                      <a:srgbClr val="FFFFFF"/>
                    </a:solidFill>
                    <a:latin typeface="Verdana" panose="020B0604030504040204" pitchFamily="34" charset="0"/>
                    <a:ea typeface="Verdana" panose="020B0604030504040204" pitchFamily="34" charset="0"/>
                  </a:rPr>
                  <a:t>Security testing</a:t>
                </a:r>
                <a:endParaRPr lang="en-US" sz="1175" spc="-20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950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F78E26-F7D3-4E72-8C49-4CD45839A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349" y="0"/>
            <a:ext cx="11125236" cy="1104900"/>
          </a:xfrm>
        </p:spPr>
        <p:txBody>
          <a:bodyPr anchor="ctr" anchorCtr="0"/>
          <a:lstStyle/>
          <a:p>
            <a:br>
              <a:rPr lang="en-AU" dirty="0">
                <a:latin typeface="Verdana (Headings)"/>
              </a:rPr>
            </a:br>
            <a:r>
              <a:rPr lang="en-AU" dirty="0">
                <a:latin typeface="Verdana (Headings)"/>
              </a:rPr>
              <a:t>Cloud Mindset</a:t>
            </a:r>
            <a:br>
              <a:rPr lang="en-AU" dirty="0">
                <a:latin typeface="Verdana (Headings)"/>
              </a:rPr>
            </a:br>
            <a:endParaRPr lang="nl-NL" dirty="0">
              <a:latin typeface="Verdana (Headings)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3AC391A9-879B-495E-BCCF-383823F3F9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4794568"/>
              </p:ext>
            </p:extLst>
          </p:nvPr>
        </p:nvGraphicFramePr>
        <p:xfrm>
          <a:off x="304800" y="1345274"/>
          <a:ext cx="11521440" cy="858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A924480-CDF7-4902-9AE8-999F69BD27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6611262"/>
              </p:ext>
            </p:extLst>
          </p:nvPr>
        </p:nvGraphicFramePr>
        <p:xfrm>
          <a:off x="304800" y="2394753"/>
          <a:ext cx="11521440" cy="858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4D9C49E-DB64-41EC-B2C7-D3E441DE37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8297969"/>
              </p:ext>
            </p:extLst>
          </p:nvPr>
        </p:nvGraphicFramePr>
        <p:xfrm>
          <a:off x="304800" y="3444232"/>
          <a:ext cx="11521440" cy="858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2C44C73-0357-4F6C-BD90-10160EA7DB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5520000"/>
              </p:ext>
            </p:extLst>
          </p:nvPr>
        </p:nvGraphicFramePr>
        <p:xfrm>
          <a:off x="304800" y="4493711"/>
          <a:ext cx="11521440" cy="858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3FCABFCE-DCFA-44F8-A48B-103DC191B6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0148459"/>
              </p:ext>
            </p:extLst>
          </p:nvPr>
        </p:nvGraphicFramePr>
        <p:xfrm>
          <a:off x="304800" y="5500264"/>
          <a:ext cx="11521440" cy="944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</p:spTree>
    <p:extLst>
      <p:ext uri="{BB962C8B-B14F-4D97-AF65-F5344CB8AC3E}">
        <p14:creationId xmlns:p14="http://schemas.microsoft.com/office/powerpoint/2010/main" val="2692077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67339B-35B0-419B-8522-DD2152B8A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w, don’t tel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5300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3758C-EA4D-4A45-9065-36BC251B5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AU" dirty="0"/>
            </a:br>
            <a:r>
              <a:rPr lang="en-AU" dirty="0"/>
              <a:t>What is Red vs. Blue?</a:t>
            </a:r>
            <a:br>
              <a:rPr lang="en-AU" dirty="0"/>
            </a:br>
            <a:endParaRPr lang="nl-NL" dirty="0"/>
          </a:p>
        </p:txBody>
      </p:sp>
      <p:grpSp>
        <p:nvGrpSpPr>
          <p:cNvPr id="27" name="Group 31">
            <a:extLst>
              <a:ext uri="{FF2B5EF4-FFF2-40B4-BE49-F238E27FC236}">
                <a16:creationId xmlns:a16="http://schemas.microsoft.com/office/drawing/2014/main" id="{CD0E8B46-BEC2-448B-AC13-105F7C163E44}"/>
              </a:ext>
            </a:extLst>
          </p:cNvPr>
          <p:cNvGrpSpPr/>
          <p:nvPr/>
        </p:nvGrpSpPr>
        <p:grpSpPr>
          <a:xfrm>
            <a:off x="5661994" y="1324330"/>
            <a:ext cx="1416997" cy="5047896"/>
            <a:chOff x="0" y="0"/>
            <a:chExt cx="1416997" cy="5047896"/>
          </a:xfrm>
        </p:grpSpPr>
        <p:sp>
          <p:nvSpPr>
            <p:cNvPr id="28" name="Rectangle 41">
              <a:extLst>
                <a:ext uri="{FF2B5EF4-FFF2-40B4-BE49-F238E27FC236}">
                  <a16:creationId xmlns:a16="http://schemas.microsoft.com/office/drawing/2014/main" id="{ACB931D4-C2E8-47BC-B4BA-718D636E90CC}"/>
                </a:ext>
              </a:extLst>
            </p:cNvPr>
            <p:cNvSpPr/>
            <p:nvPr/>
          </p:nvSpPr>
          <p:spPr>
            <a:xfrm>
              <a:off x="0" y="0"/>
              <a:ext cx="1416997" cy="5047896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9" name="TextBox 42">
              <a:extLst>
                <a:ext uri="{FF2B5EF4-FFF2-40B4-BE49-F238E27FC236}">
                  <a16:creationId xmlns:a16="http://schemas.microsoft.com/office/drawing/2014/main" id="{0DE95758-0922-4987-8F98-74013F0E36A2}"/>
                </a:ext>
              </a:extLst>
            </p:cNvPr>
            <p:cNvSpPr txBox="1"/>
            <p:nvPr/>
          </p:nvSpPr>
          <p:spPr>
            <a:xfrm>
              <a:off x="0" y="0"/>
              <a:ext cx="1416997" cy="5047896"/>
            </a:xfrm>
            <a:prstGeom prst="rect">
              <a:avLst/>
            </a:prstGeom>
            <a:solidFill>
              <a:srgbClr val="0A71B4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0" tIns="152400" rIns="152400" bIns="152400" numCol="1" spcCol="1270" anchor="t" anchorCtr="0">
              <a:noAutofit/>
            </a:bodyPr>
            <a:lstStyle/>
            <a:p>
              <a:pPr marL="0" lvl="0" indent="0" algn="l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U" sz="3000" kern="1200" dirty="0">
                  <a:solidFill>
                    <a:schemeClr val="bg1"/>
                  </a:solidFill>
                  <a:latin typeface="+mj-lt"/>
                </a:rPr>
                <a:t>Blue Team</a:t>
              </a:r>
              <a:endParaRPr lang="en-US" sz="3000" kern="12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0" name="Group 32">
            <a:extLst>
              <a:ext uri="{FF2B5EF4-FFF2-40B4-BE49-F238E27FC236}">
                <a16:creationId xmlns:a16="http://schemas.microsoft.com/office/drawing/2014/main" id="{467B4A9D-C648-445A-99E7-D8259630AA88}"/>
              </a:ext>
            </a:extLst>
          </p:cNvPr>
          <p:cNvGrpSpPr/>
          <p:nvPr/>
        </p:nvGrpSpPr>
        <p:grpSpPr>
          <a:xfrm>
            <a:off x="7147073" y="1403203"/>
            <a:ext cx="3563008" cy="1577467"/>
            <a:chOff x="1485079" y="78873"/>
            <a:chExt cx="3563008" cy="1577467"/>
          </a:xfrm>
        </p:grpSpPr>
        <p:sp>
          <p:nvSpPr>
            <p:cNvPr id="31" name="Rectangle 39">
              <a:extLst>
                <a:ext uri="{FF2B5EF4-FFF2-40B4-BE49-F238E27FC236}">
                  <a16:creationId xmlns:a16="http://schemas.microsoft.com/office/drawing/2014/main" id="{4127F981-775B-4E95-829C-E1D289E63E0A}"/>
                </a:ext>
              </a:extLst>
            </p:cNvPr>
            <p:cNvSpPr/>
            <p:nvPr/>
          </p:nvSpPr>
          <p:spPr>
            <a:xfrm>
              <a:off x="1485079" y="78873"/>
              <a:ext cx="3563008" cy="1577467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TextBox 40">
              <a:extLst>
                <a:ext uri="{FF2B5EF4-FFF2-40B4-BE49-F238E27FC236}">
                  <a16:creationId xmlns:a16="http://schemas.microsoft.com/office/drawing/2014/main" id="{7167E043-5D34-4424-B970-15D452234B7C}"/>
                </a:ext>
              </a:extLst>
            </p:cNvPr>
            <p:cNvSpPr txBox="1"/>
            <p:nvPr/>
          </p:nvSpPr>
          <p:spPr>
            <a:xfrm>
              <a:off x="1485079" y="78873"/>
              <a:ext cx="3563008" cy="1577467"/>
            </a:xfrm>
            <a:prstGeom prst="rect">
              <a:avLst/>
            </a:prstGeom>
            <a:solidFill>
              <a:srgbClr val="0A71B4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1920" tIns="121920" rIns="121920" bIns="121920" numCol="1" spcCol="1270" anchor="t" anchorCtr="0">
              <a:noAutofit/>
            </a:bodyPr>
            <a:lstStyle/>
            <a:p>
              <a:pPr marL="0" lvl="0" indent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 dirty="0">
                  <a:solidFill>
                    <a:schemeClr val="bg1"/>
                  </a:solidFill>
                  <a:latin typeface="+mj-lt"/>
                </a:rPr>
                <a:t>Exercises ability to detect &amp; respond</a:t>
              </a:r>
            </a:p>
          </p:txBody>
        </p:sp>
      </p:grpSp>
      <p:grpSp>
        <p:nvGrpSpPr>
          <p:cNvPr id="33" name="Group 33">
            <a:extLst>
              <a:ext uri="{FF2B5EF4-FFF2-40B4-BE49-F238E27FC236}">
                <a16:creationId xmlns:a16="http://schemas.microsoft.com/office/drawing/2014/main" id="{879FDAC6-3208-4F31-8770-9DB7DC5D5B2B}"/>
              </a:ext>
            </a:extLst>
          </p:cNvPr>
          <p:cNvGrpSpPr/>
          <p:nvPr/>
        </p:nvGrpSpPr>
        <p:grpSpPr>
          <a:xfrm>
            <a:off x="7147073" y="3059544"/>
            <a:ext cx="3563008" cy="1577467"/>
            <a:chOff x="1485079" y="1735214"/>
            <a:chExt cx="3563008" cy="1577467"/>
          </a:xfrm>
        </p:grpSpPr>
        <p:sp>
          <p:nvSpPr>
            <p:cNvPr id="34" name="Rectangle 37">
              <a:extLst>
                <a:ext uri="{FF2B5EF4-FFF2-40B4-BE49-F238E27FC236}">
                  <a16:creationId xmlns:a16="http://schemas.microsoft.com/office/drawing/2014/main" id="{634DB660-9A04-4C57-890B-FDA7E9D2DCC5}"/>
                </a:ext>
              </a:extLst>
            </p:cNvPr>
            <p:cNvSpPr/>
            <p:nvPr/>
          </p:nvSpPr>
          <p:spPr>
            <a:xfrm>
              <a:off x="1485079" y="1735214"/>
              <a:ext cx="3563008" cy="1577467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5" name="TextBox 38">
              <a:extLst>
                <a:ext uri="{FF2B5EF4-FFF2-40B4-BE49-F238E27FC236}">
                  <a16:creationId xmlns:a16="http://schemas.microsoft.com/office/drawing/2014/main" id="{B5E60C47-59E3-4472-8654-4C02CE47B906}"/>
                </a:ext>
              </a:extLst>
            </p:cNvPr>
            <p:cNvSpPr txBox="1"/>
            <p:nvPr/>
          </p:nvSpPr>
          <p:spPr>
            <a:xfrm>
              <a:off x="1485079" y="1735214"/>
              <a:ext cx="3563008" cy="1577467"/>
            </a:xfrm>
            <a:prstGeom prst="rect">
              <a:avLst/>
            </a:prstGeom>
            <a:solidFill>
              <a:srgbClr val="0A71B4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1920" tIns="121920" rIns="121920" bIns="121920" numCol="1" spcCol="1270" anchor="t" anchorCtr="0">
              <a:noAutofit/>
            </a:bodyPr>
            <a:lstStyle/>
            <a:p>
              <a:pPr marL="0" lvl="0" indent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l-NL" sz="2500" dirty="0">
                  <a:solidFill>
                    <a:schemeClr val="bg1"/>
                  </a:solidFill>
                  <a:latin typeface="+mj-lt"/>
                </a:rPr>
                <a:t>E</a:t>
              </a:r>
              <a:r>
                <a:rPr lang="en-US" sz="2500" dirty="0" err="1">
                  <a:solidFill>
                    <a:schemeClr val="bg1"/>
                  </a:solidFill>
                  <a:latin typeface="+mj-lt"/>
                </a:rPr>
                <a:t>nhances</a:t>
              </a:r>
              <a:r>
                <a:rPr lang="en-US" sz="2500" dirty="0">
                  <a:solidFill>
                    <a:schemeClr val="bg1"/>
                  </a:solidFill>
                  <a:latin typeface="+mj-lt"/>
                </a:rPr>
                <a:t> situational awareness</a:t>
              </a:r>
              <a:endParaRPr lang="en-US" sz="2500" kern="12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6" name="Group 34">
            <a:extLst>
              <a:ext uri="{FF2B5EF4-FFF2-40B4-BE49-F238E27FC236}">
                <a16:creationId xmlns:a16="http://schemas.microsoft.com/office/drawing/2014/main" id="{1716140C-8095-4736-9656-07600F75E728}"/>
              </a:ext>
            </a:extLst>
          </p:cNvPr>
          <p:cNvGrpSpPr/>
          <p:nvPr/>
        </p:nvGrpSpPr>
        <p:grpSpPr>
          <a:xfrm>
            <a:off x="7147073" y="4715885"/>
            <a:ext cx="3563008" cy="1577467"/>
            <a:chOff x="1485079" y="3391555"/>
            <a:chExt cx="3563008" cy="1577467"/>
          </a:xfrm>
        </p:grpSpPr>
        <p:sp>
          <p:nvSpPr>
            <p:cNvPr id="37" name="Rectangle 35">
              <a:extLst>
                <a:ext uri="{FF2B5EF4-FFF2-40B4-BE49-F238E27FC236}">
                  <a16:creationId xmlns:a16="http://schemas.microsoft.com/office/drawing/2014/main" id="{D3512A9D-723E-4F4A-A0C8-1CC617F51A69}"/>
                </a:ext>
              </a:extLst>
            </p:cNvPr>
            <p:cNvSpPr/>
            <p:nvPr/>
          </p:nvSpPr>
          <p:spPr>
            <a:xfrm>
              <a:off x="1485079" y="3391555"/>
              <a:ext cx="3563008" cy="1577467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TextBox 36">
              <a:extLst>
                <a:ext uri="{FF2B5EF4-FFF2-40B4-BE49-F238E27FC236}">
                  <a16:creationId xmlns:a16="http://schemas.microsoft.com/office/drawing/2014/main" id="{7D29F4C4-4C99-4D66-A53F-5FAC3E5869C6}"/>
                </a:ext>
              </a:extLst>
            </p:cNvPr>
            <p:cNvSpPr txBox="1"/>
            <p:nvPr/>
          </p:nvSpPr>
          <p:spPr>
            <a:xfrm>
              <a:off x="1485079" y="3391555"/>
              <a:ext cx="3563008" cy="1577467"/>
            </a:xfrm>
            <a:prstGeom prst="rect">
              <a:avLst/>
            </a:prstGeom>
            <a:solidFill>
              <a:srgbClr val="0A71B4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1920" tIns="121920" rIns="121920" bIns="121920" numCol="1" spcCol="1270" anchor="t" anchorCtr="0">
              <a:noAutofit/>
            </a:bodyPr>
            <a:lstStyle/>
            <a:p>
              <a:pPr marL="0" lvl="0" indent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 dirty="0">
                  <a:solidFill>
                    <a:schemeClr val="bg1"/>
                  </a:solidFill>
                  <a:latin typeface="+mj-lt"/>
                </a:rPr>
                <a:t>Measures readiness &amp; impact</a:t>
              </a:r>
            </a:p>
          </p:txBody>
        </p:sp>
      </p:grpSp>
      <p:grpSp>
        <p:nvGrpSpPr>
          <p:cNvPr id="39" name="Group 43">
            <a:extLst>
              <a:ext uri="{FF2B5EF4-FFF2-40B4-BE49-F238E27FC236}">
                <a16:creationId xmlns:a16="http://schemas.microsoft.com/office/drawing/2014/main" id="{59389E1D-FEBF-42AC-85AC-D91E11ACCDA5}"/>
              </a:ext>
            </a:extLst>
          </p:cNvPr>
          <p:cNvGrpSpPr/>
          <p:nvPr/>
        </p:nvGrpSpPr>
        <p:grpSpPr>
          <a:xfrm>
            <a:off x="470117" y="1324330"/>
            <a:ext cx="1416997" cy="5047896"/>
            <a:chOff x="0" y="0"/>
            <a:chExt cx="1416997" cy="5047896"/>
          </a:xfrm>
        </p:grpSpPr>
        <p:sp>
          <p:nvSpPr>
            <p:cNvPr id="40" name="Rectangle 44">
              <a:extLst>
                <a:ext uri="{FF2B5EF4-FFF2-40B4-BE49-F238E27FC236}">
                  <a16:creationId xmlns:a16="http://schemas.microsoft.com/office/drawing/2014/main" id="{79ADBEE9-A97B-4CE2-AD8F-E12520241BE2}"/>
                </a:ext>
              </a:extLst>
            </p:cNvPr>
            <p:cNvSpPr/>
            <p:nvPr/>
          </p:nvSpPr>
          <p:spPr>
            <a:xfrm>
              <a:off x="0" y="0"/>
              <a:ext cx="1416997" cy="5047896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TextBox 45">
              <a:extLst>
                <a:ext uri="{FF2B5EF4-FFF2-40B4-BE49-F238E27FC236}">
                  <a16:creationId xmlns:a16="http://schemas.microsoft.com/office/drawing/2014/main" id="{58611EF7-2447-4B38-A6AB-859D38C17399}"/>
                </a:ext>
              </a:extLst>
            </p:cNvPr>
            <p:cNvSpPr txBox="1"/>
            <p:nvPr/>
          </p:nvSpPr>
          <p:spPr>
            <a:xfrm>
              <a:off x="0" y="0"/>
              <a:ext cx="1416997" cy="5047896"/>
            </a:xfrm>
            <a:prstGeom prst="rect">
              <a:avLst/>
            </a:prstGeom>
            <a:solidFill>
              <a:srgbClr val="BD1729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400" tIns="152400" rIns="152400" bIns="152400" numCol="1" spcCol="1270" anchor="t" anchorCtr="0">
              <a:noAutofit/>
            </a:bodyPr>
            <a:lstStyle/>
            <a:p>
              <a:pPr marL="0" lvl="0" indent="0" algn="l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AU" sz="3000" kern="1200" dirty="0">
                  <a:solidFill>
                    <a:schemeClr val="bg1"/>
                  </a:solidFill>
                  <a:latin typeface="+mj-lt"/>
                </a:rPr>
                <a:t>Red Team</a:t>
              </a:r>
              <a:endParaRPr lang="en-US" sz="3000" kern="12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42" name="Group 46">
            <a:extLst>
              <a:ext uri="{FF2B5EF4-FFF2-40B4-BE49-F238E27FC236}">
                <a16:creationId xmlns:a16="http://schemas.microsoft.com/office/drawing/2014/main" id="{246EB56B-D732-4389-BF86-7CBFEE815102}"/>
              </a:ext>
            </a:extLst>
          </p:cNvPr>
          <p:cNvGrpSpPr/>
          <p:nvPr/>
        </p:nvGrpSpPr>
        <p:grpSpPr>
          <a:xfrm>
            <a:off x="1955196" y="1403203"/>
            <a:ext cx="3563008" cy="1577467"/>
            <a:chOff x="1485079" y="78873"/>
            <a:chExt cx="3563008" cy="1577467"/>
          </a:xfrm>
        </p:grpSpPr>
        <p:sp>
          <p:nvSpPr>
            <p:cNvPr id="43" name="Rectangle 47">
              <a:extLst>
                <a:ext uri="{FF2B5EF4-FFF2-40B4-BE49-F238E27FC236}">
                  <a16:creationId xmlns:a16="http://schemas.microsoft.com/office/drawing/2014/main" id="{C9F8B7F6-773D-49FF-BBF1-3CF3BEEBFA95}"/>
                </a:ext>
              </a:extLst>
            </p:cNvPr>
            <p:cNvSpPr/>
            <p:nvPr/>
          </p:nvSpPr>
          <p:spPr>
            <a:xfrm>
              <a:off x="1485079" y="78873"/>
              <a:ext cx="3563008" cy="1577467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4" name="TextBox 48">
              <a:extLst>
                <a:ext uri="{FF2B5EF4-FFF2-40B4-BE49-F238E27FC236}">
                  <a16:creationId xmlns:a16="http://schemas.microsoft.com/office/drawing/2014/main" id="{FC430101-7126-439F-920C-737A4F9EBF1F}"/>
                </a:ext>
              </a:extLst>
            </p:cNvPr>
            <p:cNvSpPr txBox="1"/>
            <p:nvPr/>
          </p:nvSpPr>
          <p:spPr>
            <a:xfrm>
              <a:off x="1485079" y="78873"/>
              <a:ext cx="3563008" cy="1577467"/>
            </a:xfrm>
            <a:prstGeom prst="rect">
              <a:avLst/>
            </a:prstGeom>
            <a:solidFill>
              <a:srgbClr val="BD1729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1920" tIns="121920" rIns="121920" bIns="121920" numCol="1" spcCol="1270" anchor="t" anchorCtr="0">
              <a:noAutofit/>
            </a:bodyPr>
            <a:lstStyle/>
            <a:p>
              <a:pPr marL="0" lvl="0" indent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 dirty="0">
                  <a:solidFill>
                    <a:schemeClr val="bg1"/>
                  </a:solidFill>
                  <a:latin typeface="+mj-lt"/>
                </a:rPr>
                <a:t>Model </a:t>
              </a:r>
              <a:br>
                <a:rPr lang="en-US" sz="2500" kern="1200" dirty="0">
                  <a:solidFill>
                    <a:schemeClr val="bg1"/>
                  </a:solidFill>
                  <a:latin typeface="+mj-lt"/>
                </a:rPr>
              </a:br>
              <a:r>
                <a:rPr lang="en-US" sz="2500" kern="1200" dirty="0">
                  <a:solidFill>
                    <a:schemeClr val="bg1"/>
                  </a:solidFill>
                  <a:latin typeface="+mj-lt"/>
                </a:rPr>
                <a:t>real-world attacks</a:t>
              </a:r>
            </a:p>
          </p:txBody>
        </p:sp>
      </p:grpSp>
      <p:grpSp>
        <p:nvGrpSpPr>
          <p:cNvPr id="45" name="Group 49">
            <a:extLst>
              <a:ext uri="{FF2B5EF4-FFF2-40B4-BE49-F238E27FC236}">
                <a16:creationId xmlns:a16="http://schemas.microsoft.com/office/drawing/2014/main" id="{A520CFD5-FB6E-452F-8D01-254970FC58F7}"/>
              </a:ext>
            </a:extLst>
          </p:cNvPr>
          <p:cNvGrpSpPr/>
          <p:nvPr/>
        </p:nvGrpSpPr>
        <p:grpSpPr>
          <a:xfrm>
            <a:off x="1955196" y="3059544"/>
            <a:ext cx="3563008" cy="1577467"/>
            <a:chOff x="1485079" y="1735214"/>
            <a:chExt cx="3563008" cy="1577467"/>
          </a:xfrm>
        </p:grpSpPr>
        <p:sp>
          <p:nvSpPr>
            <p:cNvPr id="46" name="Rectangle 50">
              <a:extLst>
                <a:ext uri="{FF2B5EF4-FFF2-40B4-BE49-F238E27FC236}">
                  <a16:creationId xmlns:a16="http://schemas.microsoft.com/office/drawing/2014/main" id="{F50AB8F6-DAA9-4B33-B813-9299E4112C03}"/>
                </a:ext>
              </a:extLst>
            </p:cNvPr>
            <p:cNvSpPr/>
            <p:nvPr/>
          </p:nvSpPr>
          <p:spPr>
            <a:xfrm>
              <a:off x="1485079" y="1735214"/>
              <a:ext cx="3563008" cy="1577467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TextBox 51">
              <a:extLst>
                <a:ext uri="{FF2B5EF4-FFF2-40B4-BE49-F238E27FC236}">
                  <a16:creationId xmlns:a16="http://schemas.microsoft.com/office/drawing/2014/main" id="{68E1668D-511A-449B-9792-4D60AE3154A9}"/>
                </a:ext>
              </a:extLst>
            </p:cNvPr>
            <p:cNvSpPr txBox="1"/>
            <p:nvPr/>
          </p:nvSpPr>
          <p:spPr>
            <a:xfrm>
              <a:off x="1485079" y="1735214"/>
              <a:ext cx="3563008" cy="1577467"/>
            </a:xfrm>
            <a:prstGeom prst="rect">
              <a:avLst/>
            </a:prstGeom>
            <a:solidFill>
              <a:srgbClr val="BD1729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1920" tIns="121920" rIns="121920" bIns="121920" numCol="1" spcCol="1270" anchor="t" anchorCtr="0">
              <a:noAutofit/>
            </a:bodyPr>
            <a:lstStyle/>
            <a:p>
              <a:pPr marL="0" lvl="0" indent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b="0" kern="1200" dirty="0">
                  <a:solidFill>
                    <a:schemeClr val="bg1"/>
                  </a:solidFill>
                  <a:latin typeface="+mj-lt"/>
                </a:rPr>
                <a:t>Identify gaps </a:t>
              </a:r>
              <a:br>
                <a:rPr lang="en-US" sz="2500" b="0" kern="1200" dirty="0">
                  <a:solidFill>
                    <a:schemeClr val="bg1"/>
                  </a:solidFill>
                  <a:latin typeface="+mj-lt"/>
                </a:rPr>
              </a:br>
              <a:r>
                <a:rPr lang="en-US" sz="2500" b="0" kern="1200" dirty="0">
                  <a:solidFill>
                    <a:schemeClr val="bg1"/>
                  </a:solidFill>
                  <a:latin typeface="+mj-lt"/>
                </a:rPr>
                <a:t>in security story</a:t>
              </a:r>
              <a:endParaRPr lang="en-US" sz="2500" kern="12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48" name="Group 52">
            <a:extLst>
              <a:ext uri="{FF2B5EF4-FFF2-40B4-BE49-F238E27FC236}">
                <a16:creationId xmlns:a16="http://schemas.microsoft.com/office/drawing/2014/main" id="{C166767C-930C-4ED2-914E-196D351535AC}"/>
              </a:ext>
            </a:extLst>
          </p:cNvPr>
          <p:cNvGrpSpPr/>
          <p:nvPr/>
        </p:nvGrpSpPr>
        <p:grpSpPr>
          <a:xfrm>
            <a:off x="1955196" y="4715885"/>
            <a:ext cx="3563008" cy="1577467"/>
            <a:chOff x="1485079" y="3391555"/>
            <a:chExt cx="3563008" cy="1577467"/>
          </a:xfrm>
        </p:grpSpPr>
        <p:sp>
          <p:nvSpPr>
            <p:cNvPr id="49" name="Rectangle 53">
              <a:extLst>
                <a:ext uri="{FF2B5EF4-FFF2-40B4-BE49-F238E27FC236}">
                  <a16:creationId xmlns:a16="http://schemas.microsoft.com/office/drawing/2014/main" id="{F2ADB367-B9E6-4017-848F-3CB2EDEDA457}"/>
                </a:ext>
              </a:extLst>
            </p:cNvPr>
            <p:cNvSpPr/>
            <p:nvPr/>
          </p:nvSpPr>
          <p:spPr>
            <a:xfrm>
              <a:off x="1485079" y="3391555"/>
              <a:ext cx="3563008" cy="1577467"/>
            </a:xfrm>
            <a:prstGeom prst="rect">
              <a:avLst/>
            </a:prstGeom>
            <a:solidFill>
              <a:srgbClr val="C00000"/>
            </a:solidFill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TextBox 54">
              <a:extLst>
                <a:ext uri="{FF2B5EF4-FFF2-40B4-BE49-F238E27FC236}">
                  <a16:creationId xmlns:a16="http://schemas.microsoft.com/office/drawing/2014/main" id="{79A11055-E8A5-4CE5-975B-2E7B8E98DB33}"/>
                </a:ext>
              </a:extLst>
            </p:cNvPr>
            <p:cNvSpPr txBox="1"/>
            <p:nvPr/>
          </p:nvSpPr>
          <p:spPr>
            <a:xfrm>
              <a:off x="1485079" y="3391555"/>
              <a:ext cx="3563008" cy="1577467"/>
            </a:xfrm>
            <a:prstGeom prst="rect">
              <a:avLst/>
            </a:prstGeom>
            <a:solidFill>
              <a:srgbClr val="BD1729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1920" tIns="121920" rIns="121920" bIns="121920" numCol="1" spcCol="1270" anchor="t" anchorCtr="0">
              <a:noAutofit/>
            </a:bodyPr>
            <a:lstStyle/>
            <a:p>
              <a:pPr marL="0" lvl="0" indent="0" algn="l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500" kern="1200" dirty="0">
                  <a:solidFill>
                    <a:schemeClr val="bg1"/>
                  </a:solidFill>
                  <a:latin typeface="+mj-lt"/>
                </a:rPr>
                <a:t>Demonstrable impact</a:t>
              </a:r>
            </a:p>
          </p:txBody>
        </p:sp>
      </p:grpSp>
      <p:grpSp>
        <p:nvGrpSpPr>
          <p:cNvPr id="51" name="Group 62">
            <a:extLst>
              <a:ext uri="{FF2B5EF4-FFF2-40B4-BE49-F238E27FC236}">
                <a16:creationId xmlns:a16="http://schemas.microsoft.com/office/drawing/2014/main" id="{8296D521-B427-4724-9EAF-48C8ADF2E9E6}"/>
              </a:ext>
            </a:extLst>
          </p:cNvPr>
          <p:cNvGrpSpPr/>
          <p:nvPr/>
        </p:nvGrpSpPr>
        <p:grpSpPr>
          <a:xfrm flipH="1">
            <a:off x="603884" y="5166733"/>
            <a:ext cx="1148965" cy="1176755"/>
            <a:chOff x="10072688" y="4352925"/>
            <a:chExt cx="1903412" cy="1949451"/>
          </a:xfrm>
          <a:solidFill>
            <a:schemeClr val="bg1"/>
          </a:solidFill>
        </p:grpSpPr>
        <p:sp>
          <p:nvSpPr>
            <p:cNvPr id="52" name="Freeform 18">
              <a:extLst>
                <a:ext uri="{FF2B5EF4-FFF2-40B4-BE49-F238E27FC236}">
                  <a16:creationId xmlns:a16="http://schemas.microsoft.com/office/drawing/2014/main" id="{BFC52231-52B7-4189-8211-20DF0B6D6E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72688" y="4598988"/>
              <a:ext cx="1403350" cy="1703388"/>
            </a:xfrm>
            <a:custGeom>
              <a:avLst/>
              <a:gdLst>
                <a:gd name="T0" fmla="*/ 742 w 837"/>
                <a:gd name="T1" fmla="*/ 596 h 1015"/>
                <a:gd name="T2" fmla="*/ 629 w 837"/>
                <a:gd name="T3" fmla="*/ 639 h 1015"/>
                <a:gd name="T4" fmla="*/ 546 w 837"/>
                <a:gd name="T5" fmla="*/ 656 h 1015"/>
                <a:gd name="T6" fmla="*/ 468 w 837"/>
                <a:gd name="T7" fmla="*/ 642 h 1015"/>
                <a:gd name="T8" fmla="*/ 296 w 837"/>
                <a:gd name="T9" fmla="*/ 629 h 1015"/>
                <a:gd name="T10" fmla="*/ 185 w 837"/>
                <a:gd name="T11" fmla="*/ 623 h 1015"/>
                <a:gd name="T12" fmla="*/ 117 w 837"/>
                <a:gd name="T13" fmla="*/ 595 h 1015"/>
                <a:gd name="T14" fmla="*/ 66 w 837"/>
                <a:gd name="T15" fmla="*/ 528 h 1015"/>
                <a:gd name="T16" fmla="*/ 39 w 837"/>
                <a:gd name="T17" fmla="*/ 478 h 1015"/>
                <a:gd name="T18" fmla="*/ 45 w 837"/>
                <a:gd name="T19" fmla="*/ 340 h 1015"/>
                <a:gd name="T20" fmla="*/ 27 w 837"/>
                <a:gd name="T21" fmla="*/ 292 h 1015"/>
                <a:gd name="T22" fmla="*/ 53 w 837"/>
                <a:gd name="T23" fmla="*/ 220 h 1015"/>
                <a:gd name="T24" fmla="*/ 129 w 837"/>
                <a:gd name="T25" fmla="*/ 108 h 1015"/>
                <a:gd name="T26" fmla="*/ 219 w 837"/>
                <a:gd name="T27" fmla="*/ 59 h 1015"/>
                <a:gd name="T28" fmla="*/ 314 w 837"/>
                <a:gd name="T29" fmla="*/ 57 h 1015"/>
                <a:gd name="T30" fmla="*/ 415 w 837"/>
                <a:gd name="T31" fmla="*/ 29 h 1015"/>
                <a:gd name="T32" fmla="*/ 511 w 837"/>
                <a:gd name="T33" fmla="*/ 61 h 1015"/>
                <a:gd name="T34" fmla="*/ 570 w 837"/>
                <a:gd name="T35" fmla="*/ 56 h 1015"/>
                <a:gd name="T36" fmla="*/ 663 w 837"/>
                <a:gd name="T37" fmla="*/ 76 h 1015"/>
                <a:gd name="T38" fmla="*/ 628 w 837"/>
                <a:gd name="T39" fmla="*/ 41 h 1015"/>
                <a:gd name="T40" fmla="*/ 515 w 837"/>
                <a:gd name="T41" fmla="*/ 29 h 1015"/>
                <a:gd name="T42" fmla="*/ 373 w 837"/>
                <a:gd name="T43" fmla="*/ 24 h 1015"/>
                <a:gd name="T44" fmla="*/ 231 w 837"/>
                <a:gd name="T45" fmla="*/ 46 h 1015"/>
                <a:gd name="T46" fmla="*/ 105 w 837"/>
                <a:gd name="T47" fmla="*/ 104 h 1015"/>
                <a:gd name="T48" fmla="*/ 28 w 837"/>
                <a:gd name="T49" fmla="*/ 229 h 1015"/>
                <a:gd name="T50" fmla="*/ 20 w 837"/>
                <a:gd name="T51" fmla="*/ 349 h 1015"/>
                <a:gd name="T52" fmla="*/ 16 w 837"/>
                <a:gd name="T53" fmla="*/ 497 h 1015"/>
                <a:gd name="T54" fmla="*/ 99 w 837"/>
                <a:gd name="T55" fmla="*/ 597 h 1015"/>
                <a:gd name="T56" fmla="*/ 156 w 837"/>
                <a:gd name="T57" fmla="*/ 825 h 1015"/>
                <a:gd name="T58" fmla="*/ 239 w 837"/>
                <a:gd name="T59" fmla="*/ 970 h 1015"/>
                <a:gd name="T60" fmla="*/ 244 w 837"/>
                <a:gd name="T61" fmla="*/ 830 h 1015"/>
                <a:gd name="T62" fmla="*/ 344 w 837"/>
                <a:gd name="T63" fmla="*/ 954 h 1015"/>
                <a:gd name="T64" fmla="*/ 370 w 837"/>
                <a:gd name="T65" fmla="*/ 674 h 1015"/>
                <a:gd name="T66" fmla="*/ 472 w 837"/>
                <a:gd name="T67" fmla="*/ 673 h 1015"/>
                <a:gd name="T68" fmla="*/ 545 w 837"/>
                <a:gd name="T69" fmla="*/ 896 h 1015"/>
                <a:gd name="T70" fmla="*/ 640 w 837"/>
                <a:gd name="T71" fmla="*/ 849 h 1015"/>
                <a:gd name="T72" fmla="*/ 740 w 837"/>
                <a:gd name="T73" fmla="*/ 969 h 1015"/>
                <a:gd name="T74" fmla="*/ 757 w 837"/>
                <a:gd name="T75" fmla="*/ 607 h 1015"/>
                <a:gd name="T76" fmla="*/ 793 w 837"/>
                <a:gd name="T77" fmla="*/ 540 h 1015"/>
                <a:gd name="T78" fmla="*/ 200 w 837"/>
                <a:gd name="T79" fmla="*/ 940 h 1015"/>
                <a:gd name="T80" fmla="*/ 195 w 837"/>
                <a:gd name="T81" fmla="*/ 638 h 1015"/>
                <a:gd name="T82" fmla="*/ 236 w 837"/>
                <a:gd name="T83" fmla="*/ 943 h 1015"/>
                <a:gd name="T84" fmla="*/ 347 w 837"/>
                <a:gd name="T85" fmla="*/ 938 h 1015"/>
                <a:gd name="T86" fmla="*/ 293 w 837"/>
                <a:gd name="T87" fmla="*/ 919 h 1015"/>
                <a:gd name="T88" fmla="*/ 296 w 837"/>
                <a:gd name="T89" fmla="*/ 647 h 1015"/>
                <a:gd name="T90" fmla="*/ 345 w 837"/>
                <a:gd name="T91" fmla="*/ 924 h 1015"/>
                <a:gd name="T92" fmla="*/ 628 w 837"/>
                <a:gd name="T93" fmla="*/ 985 h 1015"/>
                <a:gd name="T94" fmla="*/ 563 w 837"/>
                <a:gd name="T95" fmla="*/ 839 h 1015"/>
                <a:gd name="T96" fmla="*/ 636 w 837"/>
                <a:gd name="T97" fmla="*/ 654 h 1015"/>
                <a:gd name="T98" fmla="*/ 723 w 837"/>
                <a:gd name="T99" fmla="*/ 967 h 1015"/>
                <a:gd name="T100" fmla="*/ 695 w 837"/>
                <a:gd name="T101" fmla="*/ 988 h 1015"/>
                <a:gd name="T102" fmla="*/ 663 w 837"/>
                <a:gd name="T103" fmla="*/ 663 h 1015"/>
                <a:gd name="T104" fmla="*/ 728 w 837"/>
                <a:gd name="T105" fmla="*/ 685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37" h="1015">
                  <a:moveTo>
                    <a:pt x="793" y="540"/>
                  </a:moveTo>
                  <a:cubicBezTo>
                    <a:pt x="791" y="541"/>
                    <a:pt x="787" y="542"/>
                    <a:pt x="783" y="543"/>
                  </a:cubicBezTo>
                  <a:cubicBezTo>
                    <a:pt x="777" y="545"/>
                    <a:pt x="773" y="546"/>
                    <a:pt x="772" y="554"/>
                  </a:cubicBezTo>
                  <a:cubicBezTo>
                    <a:pt x="769" y="573"/>
                    <a:pt x="763" y="589"/>
                    <a:pt x="742" y="596"/>
                  </a:cubicBezTo>
                  <a:cubicBezTo>
                    <a:pt x="739" y="597"/>
                    <a:pt x="737" y="602"/>
                    <a:pt x="735" y="606"/>
                  </a:cubicBezTo>
                  <a:cubicBezTo>
                    <a:pt x="722" y="629"/>
                    <a:pt x="706" y="636"/>
                    <a:pt x="681" y="627"/>
                  </a:cubicBezTo>
                  <a:cubicBezTo>
                    <a:pt x="673" y="624"/>
                    <a:pt x="671" y="626"/>
                    <a:pt x="667" y="633"/>
                  </a:cubicBezTo>
                  <a:cubicBezTo>
                    <a:pt x="658" y="653"/>
                    <a:pt x="644" y="654"/>
                    <a:pt x="629" y="639"/>
                  </a:cubicBezTo>
                  <a:cubicBezTo>
                    <a:pt x="624" y="634"/>
                    <a:pt x="620" y="630"/>
                    <a:pt x="614" y="624"/>
                  </a:cubicBezTo>
                  <a:cubicBezTo>
                    <a:pt x="612" y="628"/>
                    <a:pt x="610" y="630"/>
                    <a:pt x="609" y="633"/>
                  </a:cubicBezTo>
                  <a:cubicBezTo>
                    <a:pt x="604" y="650"/>
                    <a:pt x="592" y="660"/>
                    <a:pt x="576" y="667"/>
                  </a:cubicBezTo>
                  <a:cubicBezTo>
                    <a:pt x="563" y="672"/>
                    <a:pt x="553" y="664"/>
                    <a:pt x="546" y="656"/>
                  </a:cubicBezTo>
                  <a:cubicBezTo>
                    <a:pt x="538" y="646"/>
                    <a:pt x="532" y="646"/>
                    <a:pt x="525" y="656"/>
                  </a:cubicBezTo>
                  <a:cubicBezTo>
                    <a:pt x="523" y="657"/>
                    <a:pt x="521" y="659"/>
                    <a:pt x="519" y="660"/>
                  </a:cubicBezTo>
                  <a:cubicBezTo>
                    <a:pt x="501" y="675"/>
                    <a:pt x="490" y="674"/>
                    <a:pt x="476" y="654"/>
                  </a:cubicBezTo>
                  <a:cubicBezTo>
                    <a:pt x="474" y="650"/>
                    <a:pt x="472" y="647"/>
                    <a:pt x="468" y="642"/>
                  </a:cubicBezTo>
                  <a:cubicBezTo>
                    <a:pt x="456" y="660"/>
                    <a:pt x="443" y="673"/>
                    <a:pt x="422" y="675"/>
                  </a:cubicBezTo>
                  <a:cubicBezTo>
                    <a:pt x="399" y="678"/>
                    <a:pt x="391" y="660"/>
                    <a:pt x="381" y="642"/>
                  </a:cubicBezTo>
                  <a:cubicBezTo>
                    <a:pt x="371" y="664"/>
                    <a:pt x="353" y="662"/>
                    <a:pt x="335" y="662"/>
                  </a:cubicBezTo>
                  <a:cubicBezTo>
                    <a:pt x="315" y="661"/>
                    <a:pt x="307" y="644"/>
                    <a:pt x="296" y="629"/>
                  </a:cubicBezTo>
                  <a:cubicBezTo>
                    <a:pt x="286" y="648"/>
                    <a:pt x="271" y="656"/>
                    <a:pt x="254" y="651"/>
                  </a:cubicBezTo>
                  <a:cubicBezTo>
                    <a:pt x="236" y="646"/>
                    <a:pt x="231" y="628"/>
                    <a:pt x="225" y="610"/>
                  </a:cubicBezTo>
                  <a:cubicBezTo>
                    <a:pt x="220" y="615"/>
                    <a:pt x="217" y="619"/>
                    <a:pt x="214" y="623"/>
                  </a:cubicBezTo>
                  <a:cubicBezTo>
                    <a:pt x="204" y="635"/>
                    <a:pt x="195" y="635"/>
                    <a:pt x="185" y="623"/>
                  </a:cubicBezTo>
                  <a:cubicBezTo>
                    <a:pt x="182" y="618"/>
                    <a:pt x="179" y="613"/>
                    <a:pt x="177" y="608"/>
                  </a:cubicBezTo>
                  <a:cubicBezTo>
                    <a:pt x="174" y="603"/>
                    <a:pt x="172" y="599"/>
                    <a:pt x="169" y="593"/>
                  </a:cubicBezTo>
                  <a:cubicBezTo>
                    <a:pt x="164" y="596"/>
                    <a:pt x="160" y="599"/>
                    <a:pt x="156" y="602"/>
                  </a:cubicBezTo>
                  <a:cubicBezTo>
                    <a:pt x="141" y="612"/>
                    <a:pt x="127" y="610"/>
                    <a:pt x="117" y="595"/>
                  </a:cubicBezTo>
                  <a:cubicBezTo>
                    <a:pt x="112" y="588"/>
                    <a:pt x="108" y="580"/>
                    <a:pt x="105" y="572"/>
                  </a:cubicBezTo>
                  <a:cubicBezTo>
                    <a:pt x="103" y="565"/>
                    <a:pt x="101" y="562"/>
                    <a:pt x="93" y="566"/>
                  </a:cubicBezTo>
                  <a:cubicBezTo>
                    <a:pt x="81" y="571"/>
                    <a:pt x="72" y="568"/>
                    <a:pt x="69" y="555"/>
                  </a:cubicBezTo>
                  <a:cubicBezTo>
                    <a:pt x="66" y="547"/>
                    <a:pt x="67" y="537"/>
                    <a:pt x="66" y="528"/>
                  </a:cubicBezTo>
                  <a:cubicBezTo>
                    <a:pt x="66" y="525"/>
                    <a:pt x="67" y="521"/>
                    <a:pt x="67" y="515"/>
                  </a:cubicBezTo>
                  <a:cubicBezTo>
                    <a:pt x="62" y="518"/>
                    <a:pt x="59" y="519"/>
                    <a:pt x="56" y="521"/>
                  </a:cubicBezTo>
                  <a:cubicBezTo>
                    <a:pt x="43" y="528"/>
                    <a:pt x="31" y="522"/>
                    <a:pt x="31" y="507"/>
                  </a:cubicBezTo>
                  <a:cubicBezTo>
                    <a:pt x="32" y="498"/>
                    <a:pt x="35" y="488"/>
                    <a:pt x="39" y="478"/>
                  </a:cubicBezTo>
                  <a:cubicBezTo>
                    <a:pt x="42" y="472"/>
                    <a:pt x="42" y="469"/>
                    <a:pt x="36" y="465"/>
                  </a:cubicBezTo>
                  <a:cubicBezTo>
                    <a:pt x="16" y="449"/>
                    <a:pt x="15" y="433"/>
                    <a:pt x="32" y="413"/>
                  </a:cubicBezTo>
                  <a:cubicBezTo>
                    <a:pt x="33" y="411"/>
                    <a:pt x="35" y="407"/>
                    <a:pt x="34" y="405"/>
                  </a:cubicBezTo>
                  <a:cubicBezTo>
                    <a:pt x="20" y="381"/>
                    <a:pt x="29" y="360"/>
                    <a:pt x="45" y="340"/>
                  </a:cubicBezTo>
                  <a:cubicBezTo>
                    <a:pt x="45" y="339"/>
                    <a:pt x="46" y="338"/>
                    <a:pt x="46" y="337"/>
                  </a:cubicBezTo>
                  <a:cubicBezTo>
                    <a:pt x="46" y="337"/>
                    <a:pt x="46" y="336"/>
                    <a:pt x="46" y="334"/>
                  </a:cubicBezTo>
                  <a:cubicBezTo>
                    <a:pt x="43" y="333"/>
                    <a:pt x="40" y="332"/>
                    <a:pt x="36" y="330"/>
                  </a:cubicBezTo>
                  <a:cubicBezTo>
                    <a:pt x="19" y="324"/>
                    <a:pt x="14" y="305"/>
                    <a:pt x="27" y="292"/>
                  </a:cubicBezTo>
                  <a:cubicBezTo>
                    <a:pt x="32" y="286"/>
                    <a:pt x="34" y="281"/>
                    <a:pt x="32" y="274"/>
                  </a:cubicBezTo>
                  <a:cubicBezTo>
                    <a:pt x="28" y="252"/>
                    <a:pt x="34" y="241"/>
                    <a:pt x="53" y="230"/>
                  </a:cubicBezTo>
                  <a:cubicBezTo>
                    <a:pt x="54" y="230"/>
                    <a:pt x="56" y="228"/>
                    <a:pt x="58" y="227"/>
                  </a:cubicBezTo>
                  <a:cubicBezTo>
                    <a:pt x="56" y="224"/>
                    <a:pt x="55" y="222"/>
                    <a:pt x="53" y="220"/>
                  </a:cubicBezTo>
                  <a:cubicBezTo>
                    <a:pt x="28" y="202"/>
                    <a:pt x="38" y="184"/>
                    <a:pt x="58" y="175"/>
                  </a:cubicBezTo>
                  <a:cubicBezTo>
                    <a:pt x="72" y="169"/>
                    <a:pt x="77" y="164"/>
                    <a:pt x="77" y="149"/>
                  </a:cubicBezTo>
                  <a:cubicBezTo>
                    <a:pt x="78" y="133"/>
                    <a:pt x="96" y="120"/>
                    <a:pt x="116" y="118"/>
                  </a:cubicBezTo>
                  <a:cubicBezTo>
                    <a:pt x="123" y="118"/>
                    <a:pt x="127" y="116"/>
                    <a:pt x="129" y="108"/>
                  </a:cubicBezTo>
                  <a:cubicBezTo>
                    <a:pt x="136" y="82"/>
                    <a:pt x="151" y="75"/>
                    <a:pt x="177" y="84"/>
                  </a:cubicBezTo>
                  <a:cubicBezTo>
                    <a:pt x="180" y="86"/>
                    <a:pt x="183" y="87"/>
                    <a:pt x="187" y="88"/>
                  </a:cubicBezTo>
                  <a:cubicBezTo>
                    <a:pt x="188" y="86"/>
                    <a:pt x="189" y="85"/>
                    <a:pt x="189" y="84"/>
                  </a:cubicBezTo>
                  <a:cubicBezTo>
                    <a:pt x="189" y="64"/>
                    <a:pt x="199" y="55"/>
                    <a:pt x="219" y="59"/>
                  </a:cubicBezTo>
                  <a:cubicBezTo>
                    <a:pt x="229" y="61"/>
                    <a:pt x="238" y="66"/>
                    <a:pt x="248" y="70"/>
                  </a:cubicBezTo>
                  <a:cubicBezTo>
                    <a:pt x="250" y="70"/>
                    <a:pt x="252" y="71"/>
                    <a:pt x="255" y="72"/>
                  </a:cubicBezTo>
                  <a:cubicBezTo>
                    <a:pt x="259" y="58"/>
                    <a:pt x="266" y="47"/>
                    <a:pt x="280" y="41"/>
                  </a:cubicBezTo>
                  <a:cubicBezTo>
                    <a:pt x="295" y="35"/>
                    <a:pt x="305" y="45"/>
                    <a:pt x="314" y="57"/>
                  </a:cubicBezTo>
                  <a:cubicBezTo>
                    <a:pt x="317" y="38"/>
                    <a:pt x="325" y="28"/>
                    <a:pt x="343" y="28"/>
                  </a:cubicBezTo>
                  <a:cubicBezTo>
                    <a:pt x="361" y="29"/>
                    <a:pt x="367" y="43"/>
                    <a:pt x="376" y="57"/>
                  </a:cubicBezTo>
                  <a:cubicBezTo>
                    <a:pt x="378" y="52"/>
                    <a:pt x="379" y="50"/>
                    <a:pt x="380" y="47"/>
                  </a:cubicBezTo>
                  <a:cubicBezTo>
                    <a:pt x="384" y="30"/>
                    <a:pt x="398" y="22"/>
                    <a:pt x="415" y="29"/>
                  </a:cubicBezTo>
                  <a:cubicBezTo>
                    <a:pt x="425" y="35"/>
                    <a:pt x="435" y="42"/>
                    <a:pt x="445" y="50"/>
                  </a:cubicBezTo>
                  <a:cubicBezTo>
                    <a:pt x="450" y="54"/>
                    <a:pt x="453" y="54"/>
                    <a:pt x="457" y="48"/>
                  </a:cubicBezTo>
                  <a:cubicBezTo>
                    <a:pt x="472" y="27"/>
                    <a:pt x="490" y="28"/>
                    <a:pt x="504" y="50"/>
                  </a:cubicBezTo>
                  <a:cubicBezTo>
                    <a:pt x="506" y="53"/>
                    <a:pt x="508" y="56"/>
                    <a:pt x="511" y="61"/>
                  </a:cubicBezTo>
                  <a:cubicBezTo>
                    <a:pt x="514" y="56"/>
                    <a:pt x="516" y="53"/>
                    <a:pt x="518" y="50"/>
                  </a:cubicBezTo>
                  <a:cubicBezTo>
                    <a:pt x="525" y="39"/>
                    <a:pt x="532" y="36"/>
                    <a:pt x="543" y="43"/>
                  </a:cubicBezTo>
                  <a:cubicBezTo>
                    <a:pt x="551" y="49"/>
                    <a:pt x="558" y="56"/>
                    <a:pt x="567" y="63"/>
                  </a:cubicBezTo>
                  <a:cubicBezTo>
                    <a:pt x="568" y="60"/>
                    <a:pt x="569" y="58"/>
                    <a:pt x="570" y="56"/>
                  </a:cubicBezTo>
                  <a:cubicBezTo>
                    <a:pt x="575" y="40"/>
                    <a:pt x="590" y="36"/>
                    <a:pt x="601" y="49"/>
                  </a:cubicBezTo>
                  <a:cubicBezTo>
                    <a:pt x="607" y="55"/>
                    <a:pt x="612" y="63"/>
                    <a:pt x="618" y="71"/>
                  </a:cubicBezTo>
                  <a:cubicBezTo>
                    <a:pt x="625" y="60"/>
                    <a:pt x="634" y="50"/>
                    <a:pt x="646" y="58"/>
                  </a:cubicBezTo>
                  <a:cubicBezTo>
                    <a:pt x="653" y="62"/>
                    <a:pt x="658" y="69"/>
                    <a:pt x="663" y="76"/>
                  </a:cubicBezTo>
                  <a:cubicBezTo>
                    <a:pt x="675" y="66"/>
                    <a:pt x="688" y="57"/>
                    <a:pt x="701" y="49"/>
                  </a:cubicBezTo>
                  <a:cubicBezTo>
                    <a:pt x="694" y="49"/>
                    <a:pt x="686" y="51"/>
                    <a:pt x="679" y="53"/>
                  </a:cubicBezTo>
                  <a:cubicBezTo>
                    <a:pt x="672" y="55"/>
                    <a:pt x="667" y="55"/>
                    <a:pt x="662" y="49"/>
                  </a:cubicBezTo>
                  <a:cubicBezTo>
                    <a:pt x="652" y="39"/>
                    <a:pt x="641" y="36"/>
                    <a:pt x="628" y="41"/>
                  </a:cubicBezTo>
                  <a:cubicBezTo>
                    <a:pt x="621" y="44"/>
                    <a:pt x="617" y="43"/>
                    <a:pt x="611" y="37"/>
                  </a:cubicBezTo>
                  <a:cubicBezTo>
                    <a:pt x="598" y="24"/>
                    <a:pt x="583" y="21"/>
                    <a:pt x="569" y="31"/>
                  </a:cubicBezTo>
                  <a:cubicBezTo>
                    <a:pt x="562" y="35"/>
                    <a:pt x="558" y="35"/>
                    <a:pt x="552" y="31"/>
                  </a:cubicBezTo>
                  <a:cubicBezTo>
                    <a:pt x="540" y="22"/>
                    <a:pt x="528" y="20"/>
                    <a:pt x="515" y="29"/>
                  </a:cubicBezTo>
                  <a:cubicBezTo>
                    <a:pt x="513" y="30"/>
                    <a:pt x="507" y="28"/>
                    <a:pt x="504" y="26"/>
                  </a:cubicBezTo>
                  <a:cubicBezTo>
                    <a:pt x="493" y="18"/>
                    <a:pt x="481" y="14"/>
                    <a:pt x="467" y="20"/>
                  </a:cubicBezTo>
                  <a:cubicBezTo>
                    <a:pt x="460" y="22"/>
                    <a:pt x="455" y="27"/>
                    <a:pt x="448" y="31"/>
                  </a:cubicBezTo>
                  <a:cubicBezTo>
                    <a:pt x="425" y="13"/>
                    <a:pt x="401" y="0"/>
                    <a:pt x="373" y="24"/>
                  </a:cubicBezTo>
                  <a:cubicBezTo>
                    <a:pt x="344" y="8"/>
                    <a:pt x="341" y="8"/>
                    <a:pt x="310" y="25"/>
                  </a:cubicBezTo>
                  <a:cubicBezTo>
                    <a:pt x="308" y="26"/>
                    <a:pt x="305" y="26"/>
                    <a:pt x="302" y="25"/>
                  </a:cubicBezTo>
                  <a:cubicBezTo>
                    <a:pt x="283" y="19"/>
                    <a:pt x="267" y="26"/>
                    <a:pt x="256" y="40"/>
                  </a:cubicBezTo>
                  <a:cubicBezTo>
                    <a:pt x="248" y="49"/>
                    <a:pt x="242" y="49"/>
                    <a:pt x="231" y="46"/>
                  </a:cubicBezTo>
                  <a:cubicBezTo>
                    <a:pt x="209" y="39"/>
                    <a:pt x="190" y="41"/>
                    <a:pt x="175" y="62"/>
                  </a:cubicBezTo>
                  <a:cubicBezTo>
                    <a:pt x="173" y="64"/>
                    <a:pt x="169" y="65"/>
                    <a:pt x="165" y="65"/>
                  </a:cubicBezTo>
                  <a:cubicBezTo>
                    <a:pt x="141" y="64"/>
                    <a:pt x="128" y="72"/>
                    <a:pt x="116" y="95"/>
                  </a:cubicBezTo>
                  <a:cubicBezTo>
                    <a:pt x="114" y="99"/>
                    <a:pt x="109" y="102"/>
                    <a:pt x="105" y="104"/>
                  </a:cubicBezTo>
                  <a:cubicBezTo>
                    <a:pt x="84" y="110"/>
                    <a:pt x="68" y="122"/>
                    <a:pt x="62" y="144"/>
                  </a:cubicBezTo>
                  <a:cubicBezTo>
                    <a:pt x="60" y="153"/>
                    <a:pt x="56" y="158"/>
                    <a:pt x="48" y="163"/>
                  </a:cubicBezTo>
                  <a:cubicBezTo>
                    <a:pt x="24" y="178"/>
                    <a:pt x="19" y="194"/>
                    <a:pt x="30" y="219"/>
                  </a:cubicBezTo>
                  <a:cubicBezTo>
                    <a:pt x="31" y="222"/>
                    <a:pt x="30" y="227"/>
                    <a:pt x="28" y="229"/>
                  </a:cubicBezTo>
                  <a:cubicBezTo>
                    <a:pt x="18" y="241"/>
                    <a:pt x="15" y="255"/>
                    <a:pt x="16" y="271"/>
                  </a:cubicBezTo>
                  <a:cubicBezTo>
                    <a:pt x="16" y="275"/>
                    <a:pt x="15" y="280"/>
                    <a:pt x="12" y="284"/>
                  </a:cubicBezTo>
                  <a:cubicBezTo>
                    <a:pt x="0" y="304"/>
                    <a:pt x="1" y="321"/>
                    <a:pt x="18" y="338"/>
                  </a:cubicBezTo>
                  <a:cubicBezTo>
                    <a:pt x="20" y="340"/>
                    <a:pt x="21" y="346"/>
                    <a:pt x="20" y="349"/>
                  </a:cubicBezTo>
                  <a:cubicBezTo>
                    <a:pt x="12" y="366"/>
                    <a:pt x="10" y="382"/>
                    <a:pt x="15" y="400"/>
                  </a:cubicBezTo>
                  <a:cubicBezTo>
                    <a:pt x="16" y="404"/>
                    <a:pt x="14" y="409"/>
                    <a:pt x="12" y="412"/>
                  </a:cubicBezTo>
                  <a:cubicBezTo>
                    <a:pt x="2" y="427"/>
                    <a:pt x="0" y="442"/>
                    <a:pt x="10" y="456"/>
                  </a:cubicBezTo>
                  <a:cubicBezTo>
                    <a:pt x="19" y="470"/>
                    <a:pt x="21" y="481"/>
                    <a:pt x="16" y="497"/>
                  </a:cubicBezTo>
                  <a:cubicBezTo>
                    <a:pt x="10" y="516"/>
                    <a:pt x="22" y="535"/>
                    <a:pt x="40" y="538"/>
                  </a:cubicBezTo>
                  <a:cubicBezTo>
                    <a:pt x="48" y="540"/>
                    <a:pt x="51" y="543"/>
                    <a:pt x="52" y="551"/>
                  </a:cubicBezTo>
                  <a:cubicBezTo>
                    <a:pt x="55" y="571"/>
                    <a:pt x="65" y="583"/>
                    <a:pt x="80" y="584"/>
                  </a:cubicBezTo>
                  <a:cubicBezTo>
                    <a:pt x="90" y="584"/>
                    <a:pt x="95" y="588"/>
                    <a:pt x="99" y="597"/>
                  </a:cubicBezTo>
                  <a:cubicBezTo>
                    <a:pt x="111" y="620"/>
                    <a:pt x="126" y="626"/>
                    <a:pt x="152" y="622"/>
                  </a:cubicBezTo>
                  <a:cubicBezTo>
                    <a:pt x="153" y="622"/>
                    <a:pt x="154" y="622"/>
                    <a:pt x="157" y="623"/>
                  </a:cubicBezTo>
                  <a:cubicBezTo>
                    <a:pt x="157" y="630"/>
                    <a:pt x="157" y="636"/>
                    <a:pt x="157" y="643"/>
                  </a:cubicBezTo>
                  <a:cubicBezTo>
                    <a:pt x="156" y="704"/>
                    <a:pt x="156" y="764"/>
                    <a:pt x="156" y="825"/>
                  </a:cubicBezTo>
                  <a:cubicBezTo>
                    <a:pt x="157" y="862"/>
                    <a:pt x="163" y="899"/>
                    <a:pt x="179" y="933"/>
                  </a:cubicBezTo>
                  <a:cubicBezTo>
                    <a:pt x="186" y="947"/>
                    <a:pt x="198" y="960"/>
                    <a:pt x="209" y="973"/>
                  </a:cubicBezTo>
                  <a:cubicBezTo>
                    <a:pt x="214" y="979"/>
                    <a:pt x="221" y="979"/>
                    <a:pt x="228" y="973"/>
                  </a:cubicBezTo>
                  <a:cubicBezTo>
                    <a:pt x="230" y="970"/>
                    <a:pt x="235" y="970"/>
                    <a:pt x="239" y="970"/>
                  </a:cubicBezTo>
                  <a:cubicBezTo>
                    <a:pt x="244" y="969"/>
                    <a:pt x="250" y="970"/>
                    <a:pt x="252" y="968"/>
                  </a:cubicBezTo>
                  <a:cubicBezTo>
                    <a:pt x="255" y="965"/>
                    <a:pt x="256" y="958"/>
                    <a:pt x="255" y="954"/>
                  </a:cubicBezTo>
                  <a:cubicBezTo>
                    <a:pt x="252" y="933"/>
                    <a:pt x="245" y="913"/>
                    <a:pt x="243" y="892"/>
                  </a:cubicBezTo>
                  <a:cubicBezTo>
                    <a:pt x="242" y="871"/>
                    <a:pt x="244" y="850"/>
                    <a:pt x="244" y="830"/>
                  </a:cubicBezTo>
                  <a:cubicBezTo>
                    <a:pt x="253" y="857"/>
                    <a:pt x="261" y="885"/>
                    <a:pt x="272" y="913"/>
                  </a:cubicBezTo>
                  <a:cubicBezTo>
                    <a:pt x="279" y="932"/>
                    <a:pt x="294" y="947"/>
                    <a:pt x="313" y="957"/>
                  </a:cubicBezTo>
                  <a:cubicBezTo>
                    <a:pt x="321" y="961"/>
                    <a:pt x="329" y="963"/>
                    <a:pt x="336" y="955"/>
                  </a:cubicBezTo>
                  <a:cubicBezTo>
                    <a:pt x="338" y="954"/>
                    <a:pt x="342" y="954"/>
                    <a:pt x="344" y="954"/>
                  </a:cubicBezTo>
                  <a:cubicBezTo>
                    <a:pt x="361" y="957"/>
                    <a:pt x="366" y="952"/>
                    <a:pt x="363" y="935"/>
                  </a:cubicBezTo>
                  <a:cubicBezTo>
                    <a:pt x="344" y="856"/>
                    <a:pt x="340" y="776"/>
                    <a:pt x="343" y="695"/>
                  </a:cubicBezTo>
                  <a:cubicBezTo>
                    <a:pt x="343" y="684"/>
                    <a:pt x="345" y="677"/>
                    <a:pt x="358" y="677"/>
                  </a:cubicBezTo>
                  <a:cubicBezTo>
                    <a:pt x="362" y="677"/>
                    <a:pt x="366" y="676"/>
                    <a:pt x="370" y="674"/>
                  </a:cubicBezTo>
                  <a:cubicBezTo>
                    <a:pt x="376" y="670"/>
                    <a:pt x="380" y="672"/>
                    <a:pt x="385" y="677"/>
                  </a:cubicBezTo>
                  <a:cubicBezTo>
                    <a:pt x="398" y="691"/>
                    <a:pt x="414" y="696"/>
                    <a:pt x="432" y="689"/>
                  </a:cubicBezTo>
                  <a:cubicBezTo>
                    <a:pt x="445" y="685"/>
                    <a:pt x="456" y="677"/>
                    <a:pt x="469" y="671"/>
                  </a:cubicBezTo>
                  <a:cubicBezTo>
                    <a:pt x="470" y="671"/>
                    <a:pt x="471" y="672"/>
                    <a:pt x="472" y="673"/>
                  </a:cubicBezTo>
                  <a:cubicBezTo>
                    <a:pt x="491" y="690"/>
                    <a:pt x="504" y="690"/>
                    <a:pt x="525" y="676"/>
                  </a:cubicBezTo>
                  <a:cubicBezTo>
                    <a:pt x="529" y="673"/>
                    <a:pt x="537" y="670"/>
                    <a:pt x="539" y="672"/>
                  </a:cubicBezTo>
                  <a:cubicBezTo>
                    <a:pt x="547" y="678"/>
                    <a:pt x="560" y="679"/>
                    <a:pt x="559" y="696"/>
                  </a:cubicBezTo>
                  <a:cubicBezTo>
                    <a:pt x="553" y="762"/>
                    <a:pt x="550" y="829"/>
                    <a:pt x="545" y="896"/>
                  </a:cubicBezTo>
                  <a:cubicBezTo>
                    <a:pt x="542" y="938"/>
                    <a:pt x="558" y="972"/>
                    <a:pt x="588" y="1001"/>
                  </a:cubicBezTo>
                  <a:cubicBezTo>
                    <a:pt x="603" y="1015"/>
                    <a:pt x="606" y="1015"/>
                    <a:pt x="618" y="998"/>
                  </a:cubicBezTo>
                  <a:cubicBezTo>
                    <a:pt x="640" y="1007"/>
                    <a:pt x="645" y="1003"/>
                    <a:pt x="643" y="979"/>
                  </a:cubicBezTo>
                  <a:cubicBezTo>
                    <a:pt x="638" y="933"/>
                    <a:pt x="634" y="887"/>
                    <a:pt x="640" y="849"/>
                  </a:cubicBezTo>
                  <a:cubicBezTo>
                    <a:pt x="642" y="872"/>
                    <a:pt x="644" y="902"/>
                    <a:pt x="649" y="932"/>
                  </a:cubicBezTo>
                  <a:cubicBezTo>
                    <a:pt x="653" y="959"/>
                    <a:pt x="665" y="983"/>
                    <a:pt x="687" y="999"/>
                  </a:cubicBezTo>
                  <a:cubicBezTo>
                    <a:pt x="702" y="1010"/>
                    <a:pt x="708" y="1009"/>
                    <a:pt x="717" y="993"/>
                  </a:cubicBezTo>
                  <a:cubicBezTo>
                    <a:pt x="742" y="997"/>
                    <a:pt x="744" y="993"/>
                    <a:pt x="740" y="969"/>
                  </a:cubicBezTo>
                  <a:cubicBezTo>
                    <a:pt x="735" y="937"/>
                    <a:pt x="731" y="905"/>
                    <a:pt x="731" y="873"/>
                  </a:cubicBezTo>
                  <a:cubicBezTo>
                    <a:pt x="732" y="818"/>
                    <a:pt x="737" y="764"/>
                    <a:pt x="741" y="709"/>
                  </a:cubicBezTo>
                  <a:cubicBezTo>
                    <a:pt x="743" y="680"/>
                    <a:pt x="747" y="652"/>
                    <a:pt x="750" y="624"/>
                  </a:cubicBezTo>
                  <a:cubicBezTo>
                    <a:pt x="751" y="618"/>
                    <a:pt x="753" y="610"/>
                    <a:pt x="757" y="607"/>
                  </a:cubicBezTo>
                  <a:cubicBezTo>
                    <a:pt x="773" y="598"/>
                    <a:pt x="781" y="584"/>
                    <a:pt x="786" y="567"/>
                  </a:cubicBezTo>
                  <a:cubicBezTo>
                    <a:pt x="787" y="563"/>
                    <a:pt x="791" y="559"/>
                    <a:pt x="794" y="557"/>
                  </a:cubicBezTo>
                  <a:cubicBezTo>
                    <a:pt x="801" y="554"/>
                    <a:pt x="833" y="483"/>
                    <a:pt x="837" y="478"/>
                  </a:cubicBezTo>
                  <a:cubicBezTo>
                    <a:pt x="831" y="477"/>
                    <a:pt x="798" y="541"/>
                    <a:pt x="793" y="540"/>
                  </a:cubicBezTo>
                  <a:close/>
                  <a:moveTo>
                    <a:pt x="236" y="951"/>
                  </a:moveTo>
                  <a:cubicBezTo>
                    <a:pt x="234" y="950"/>
                    <a:pt x="232" y="949"/>
                    <a:pt x="230" y="947"/>
                  </a:cubicBezTo>
                  <a:cubicBezTo>
                    <a:pt x="216" y="938"/>
                    <a:pt x="216" y="938"/>
                    <a:pt x="212" y="957"/>
                  </a:cubicBezTo>
                  <a:cubicBezTo>
                    <a:pt x="207" y="950"/>
                    <a:pt x="203" y="945"/>
                    <a:pt x="200" y="940"/>
                  </a:cubicBezTo>
                  <a:cubicBezTo>
                    <a:pt x="181" y="907"/>
                    <a:pt x="173" y="871"/>
                    <a:pt x="172" y="834"/>
                  </a:cubicBezTo>
                  <a:cubicBezTo>
                    <a:pt x="170" y="764"/>
                    <a:pt x="171" y="693"/>
                    <a:pt x="172" y="623"/>
                  </a:cubicBezTo>
                  <a:cubicBezTo>
                    <a:pt x="172" y="622"/>
                    <a:pt x="172" y="621"/>
                    <a:pt x="172" y="621"/>
                  </a:cubicBezTo>
                  <a:cubicBezTo>
                    <a:pt x="180" y="627"/>
                    <a:pt x="186" y="636"/>
                    <a:pt x="195" y="638"/>
                  </a:cubicBezTo>
                  <a:cubicBezTo>
                    <a:pt x="203" y="640"/>
                    <a:pt x="213" y="634"/>
                    <a:pt x="224" y="631"/>
                  </a:cubicBezTo>
                  <a:cubicBezTo>
                    <a:pt x="228" y="637"/>
                    <a:pt x="234" y="646"/>
                    <a:pt x="234" y="659"/>
                  </a:cubicBezTo>
                  <a:cubicBezTo>
                    <a:pt x="232" y="721"/>
                    <a:pt x="231" y="783"/>
                    <a:pt x="228" y="844"/>
                  </a:cubicBezTo>
                  <a:cubicBezTo>
                    <a:pt x="227" y="878"/>
                    <a:pt x="227" y="910"/>
                    <a:pt x="236" y="943"/>
                  </a:cubicBezTo>
                  <a:cubicBezTo>
                    <a:pt x="237" y="945"/>
                    <a:pt x="237" y="947"/>
                    <a:pt x="237" y="948"/>
                  </a:cubicBezTo>
                  <a:cubicBezTo>
                    <a:pt x="238" y="949"/>
                    <a:pt x="237" y="950"/>
                    <a:pt x="236" y="951"/>
                  </a:cubicBezTo>
                  <a:close/>
                  <a:moveTo>
                    <a:pt x="345" y="924"/>
                  </a:moveTo>
                  <a:cubicBezTo>
                    <a:pt x="345" y="928"/>
                    <a:pt x="346" y="932"/>
                    <a:pt x="347" y="938"/>
                  </a:cubicBezTo>
                  <a:cubicBezTo>
                    <a:pt x="341" y="935"/>
                    <a:pt x="337" y="933"/>
                    <a:pt x="333" y="931"/>
                  </a:cubicBezTo>
                  <a:cubicBezTo>
                    <a:pt x="330" y="928"/>
                    <a:pt x="326" y="925"/>
                    <a:pt x="321" y="920"/>
                  </a:cubicBezTo>
                  <a:cubicBezTo>
                    <a:pt x="320" y="929"/>
                    <a:pt x="320" y="935"/>
                    <a:pt x="319" y="945"/>
                  </a:cubicBezTo>
                  <a:cubicBezTo>
                    <a:pt x="309" y="935"/>
                    <a:pt x="300" y="928"/>
                    <a:pt x="293" y="919"/>
                  </a:cubicBezTo>
                  <a:cubicBezTo>
                    <a:pt x="274" y="893"/>
                    <a:pt x="267" y="862"/>
                    <a:pt x="263" y="831"/>
                  </a:cubicBezTo>
                  <a:cubicBezTo>
                    <a:pt x="255" y="777"/>
                    <a:pt x="258" y="724"/>
                    <a:pt x="261" y="670"/>
                  </a:cubicBezTo>
                  <a:cubicBezTo>
                    <a:pt x="261" y="666"/>
                    <a:pt x="265" y="661"/>
                    <a:pt x="269" y="659"/>
                  </a:cubicBezTo>
                  <a:cubicBezTo>
                    <a:pt x="278" y="654"/>
                    <a:pt x="287" y="651"/>
                    <a:pt x="296" y="647"/>
                  </a:cubicBezTo>
                  <a:cubicBezTo>
                    <a:pt x="305" y="654"/>
                    <a:pt x="314" y="660"/>
                    <a:pt x="323" y="668"/>
                  </a:cubicBezTo>
                  <a:cubicBezTo>
                    <a:pt x="326" y="670"/>
                    <a:pt x="328" y="675"/>
                    <a:pt x="328" y="679"/>
                  </a:cubicBezTo>
                  <a:cubicBezTo>
                    <a:pt x="328" y="698"/>
                    <a:pt x="327" y="717"/>
                    <a:pt x="326" y="735"/>
                  </a:cubicBezTo>
                  <a:cubicBezTo>
                    <a:pt x="324" y="799"/>
                    <a:pt x="332" y="862"/>
                    <a:pt x="345" y="924"/>
                  </a:cubicBezTo>
                  <a:close/>
                  <a:moveTo>
                    <a:pt x="639" y="663"/>
                  </a:moveTo>
                  <a:cubicBezTo>
                    <a:pt x="634" y="723"/>
                    <a:pt x="630" y="783"/>
                    <a:pt x="624" y="843"/>
                  </a:cubicBezTo>
                  <a:cubicBezTo>
                    <a:pt x="620" y="887"/>
                    <a:pt x="623" y="930"/>
                    <a:pt x="627" y="973"/>
                  </a:cubicBezTo>
                  <a:cubicBezTo>
                    <a:pt x="627" y="976"/>
                    <a:pt x="627" y="978"/>
                    <a:pt x="628" y="985"/>
                  </a:cubicBezTo>
                  <a:cubicBezTo>
                    <a:pt x="619" y="978"/>
                    <a:pt x="613" y="972"/>
                    <a:pt x="605" y="966"/>
                  </a:cubicBezTo>
                  <a:cubicBezTo>
                    <a:pt x="603" y="974"/>
                    <a:pt x="601" y="982"/>
                    <a:pt x="599" y="991"/>
                  </a:cubicBezTo>
                  <a:cubicBezTo>
                    <a:pt x="580" y="972"/>
                    <a:pt x="564" y="953"/>
                    <a:pt x="563" y="926"/>
                  </a:cubicBezTo>
                  <a:cubicBezTo>
                    <a:pt x="561" y="897"/>
                    <a:pt x="562" y="868"/>
                    <a:pt x="563" y="839"/>
                  </a:cubicBezTo>
                  <a:cubicBezTo>
                    <a:pt x="566" y="789"/>
                    <a:pt x="570" y="739"/>
                    <a:pt x="574" y="689"/>
                  </a:cubicBezTo>
                  <a:cubicBezTo>
                    <a:pt x="574" y="681"/>
                    <a:pt x="577" y="675"/>
                    <a:pt x="585" y="670"/>
                  </a:cubicBezTo>
                  <a:cubicBezTo>
                    <a:pt x="597" y="662"/>
                    <a:pt x="607" y="652"/>
                    <a:pt x="619" y="641"/>
                  </a:cubicBezTo>
                  <a:cubicBezTo>
                    <a:pt x="623" y="645"/>
                    <a:pt x="630" y="649"/>
                    <a:pt x="636" y="654"/>
                  </a:cubicBezTo>
                  <a:cubicBezTo>
                    <a:pt x="638" y="656"/>
                    <a:pt x="639" y="660"/>
                    <a:pt x="639" y="663"/>
                  </a:cubicBezTo>
                  <a:close/>
                  <a:moveTo>
                    <a:pt x="728" y="685"/>
                  </a:moveTo>
                  <a:cubicBezTo>
                    <a:pt x="723" y="750"/>
                    <a:pt x="717" y="814"/>
                    <a:pt x="715" y="878"/>
                  </a:cubicBezTo>
                  <a:cubicBezTo>
                    <a:pt x="714" y="907"/>
                    <a:pt x="720" y="937"/>
                    <a:pt x="723" y="967"/>
                  </a:cubicBezTo>
                  <a:cubicBezTo>
                    <a:pt x="724" y="969"/>
                    <a:pt x="724" y="972"/>
                    <a:pt x="725" y="978"/>
                  </a:cubicBezTo>
                  <a:cubicBezTo>
                    <a:pt x="716" y="973"/>
                    <a:pt x="709" y="968"/>
                    <a:pt x="701" y="963"/>
                  </a:cubicBezTo>
                  <a:cubicBezTo>
                    <a:pt x="700" y="971"/>
                    <a:pt x="699" y="978"/>
                    <a:pt x="698" y="986"/>
                  </a:cubicBezTo>
                  <a:cubicBezTo>
                    <a:pt x="697" y="986"/>
                    <a:pt x="696" y="987"/>
                    <a:pt x="695" y="988"/>
                  </a:cubicBezTo>
                  <a:cubicBezTo>
                    <a:pt x="689" y="980"/>
                    <a:pt x="682" y="973"/>
                    <a:pt x="677" y="965"/>
                  </a:cubicBezTo>
                  <a:cubicBezTo>
                    <a:pt x="664" y="942"/>
                    <a:pt x="659" y="917"/>
                    <a:pt x="659" y="891"/>
                  </a:cubicBezTo>
                  <a:cubicBezTo>
                    <a:pt x="659" y="823"/>
                    <a:pt x="661" y="754"/>
                    <a:pt x="662" y="685"/>
                  </a:cubicBezTo>
                  <a:cubicBezTo>
                    <a:pt x="662" y="678"/>
                    <a:pt x="661" y="670"/>
                    <a:pt x="663" y="663"/>
                  </a:cubicBezTo>
                  <a:cubicBezTo>
                    <a:pt x="666" y="654"/>
                    <a:pt x="670" y="645"/>
                    <a:pt x="675" y="636"/>
                  </a:cubicBezTo>
                  <a:cubicBezTo>
                    <a:pt x="675" y="635"/>
                    <a:pt x="680" y="634"/>
                    <a:pt x="682" y="635"/>
                  </a:cubicBezTo>
                  <a:cubicBezTo>
                    <a:pt x="700" y="640"/>
                    <a:pt x="716" y="638"/>
                    <a:pt x="733" y="623"/>
                  </a:cubicBezTo>
                  <a:cubicBezTo>
                    <a:pt x="731" y="646"/>
                    <a:pt x="729" y="666"/>
                    <a:pt x="728" y="6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id="{73CF109B-8A3C-42B4-9C77-1F7F8946FD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1075" y="4352925"/>
              <a:ext cx="835025" cy="1022350"/>
            </a:xfrm>
            <a:custGeom>
              <a:avLst/>
              <a:gdLst>
                <a:gd name="T0" fmla="*/ 484 w 498"/>
                <a:gd name="T1" fmla="*/ 370 h 609"/>
                <a:gd name="T2" fmla="*/ 477 w 498"/>
                <a:gd name="T3" fmla="*/ 306 h 609"/>
                <a:gd name="T4" fmla="*/ 467 w 498"/>
                <a:gd name="T5" fmla="*/ 268 h 609"/>
                <a:gd name="T6" fmla="*/ 450 w 498"/>
                <a:gd name="T7" fmla="*/ 258 h 609"/>
                <a:gd name="T8" fmla="*/ 458 w 498"/>
                <a:gd name="T9" fmla="*/ 220 h 609"/>
                <a:gd name="T10" fmla="*/ 460 w 498"/>
                <a:gd name="T11" fmla="*/ 157 h 609"/>
                <a:gd name="T12" fmla="*/ 352 w 498"/>
                <a:gd name="T13" fmla="*/ 104 h 609"/>
                <a:gd name="T14" fmla="*/ 303 w 498"/>
                <a:gd name="T15" fmla="*/ 126 h 609"/>
                <a:gd name="T16" fmla="*/ 270 w 498"/>
                <a:gd name="T17" fmla="*/ 122 h 609"/>
                <a:gd name="T18" fmla="*/ 243 w 498"/>
                <a:gd name="T19" fmla="*/ 113 h 609"/>
                <a:gd name="T20" fmla="*/ 211 w 498"/>
                <a:gd name="T21" fmla="*/ 86 h 609"/>
                <a:gd name="T22" fmla="*/ 95 w 498"/>
                <a:gd name="T23" fmla="*/ 97 h 609"/>
                <a:gd name="T24" fmla="*/ 78 w 498"/>
                <a:gd name="T25" fmla="*/ 166 h 609"/>
                <a:gd name="T26" fmla="*/ 83 w 498"/>
                <a:gd name="T27" fmla="*/ 211 h 609"/>
                <a:gd name="T28" fmla="*/ 82 w 498"/>
                <a:gd name="T29" fmla="*/ 215 h 609"/>
                <a:gd name="T30" fmla="*/ 46 w 498"/>
                <a:gd name="T31" fmla="*/ 235 h 609"/>
                <a:gd name="T32" fmla="*/ 16 w 498"/>
                <a:gd name="T33" fmla="*/ 293 h 609"/>
                <a:gd name="T34" fmla="*/ 1 w 498"/>
                <a:gd name="T35" fmla="*/ 360 h 609"/>
                <a:gd name="T36" fmla="*/ 1 w 498"/>
                <a:gd name="T37" fmla="*/ 451 h 609"/>
                <a:gd name="T38" fmla="*/ 22 w 498"/>
                <a:gd name="T39" fmla="*/ 498 h 609"/>
                <a:gd name="T40" fmla="*/ 72 w 498"/>
                <a:gd name="T41" fmla="*/ 541 h 609"/>
                <a:gd name="T42" fmla="*/ 159 w 498"/>
                <a:gd name="T43" fmla="*/ 584 h 609"/>
                <a:gd name="T44" fmla="*/ 84 w 498"/>
                <a:gd name="T45" fmla="*/ 489 h 609"/>
                <a:gd name="T46" fmla="*/ 79 w 498"/>
                <a:gd name="T47" fmla="*/ 422 h 609"/>
                <a:gd name="T48" fmla="*/ 74 w 498"/>
                <a:gd name="T49" fmla="*/ 379 h 609"/>
                <a:gd name="T50" fmla="*/ 70 w 498"/>
                <a:gd name="T51" fmla="*/ 350 h 609"/>
                <a:gd name="T52" fmla="*/ 120 w 498"/>
                <a:gd name="T53" fmla="*/ 318 h 609"/>
                <a:gd name="T54" fmla="*/ 209 w 498"/>
                <a:gd name="T55" fmla="*/ 408 h 609"/>
                <a:gd name="T56" fmla="*/ 332 w 498"/>
                <a:gd name="T57" fmla="*/ 393 h 609"/>
                <a:gd name="T58" fmla="*/ 398 w 498"/>
                <a:gd name="T59" fmla="*/ 379 h 609"/>
                <a:gd name="T60" fmla="*/ 383 w 498"/>
                <a:gd name="T61" fmla="*/ 427 h 609"/>
                <a:gd name="T62" fmla="*/ 348 w 498"/>
                <a:gd name="T63" fmla="*/ 486 h 609"/>
                <a:gd name="T64" fmla="*/ 305 w 498"/>
                <a:gd name="T65" fmla="*/ 609 h 609"/>
                <a:gd name="T66" fmla="*/ 360 w 498"/>
                <a:gd name="T67" fmla="*/ 595 h 609"/>
                <a:gd name="T68" fmla="*/ 423 w 498"/>
                <a:gd name="T69" fmla="*/ 575 h 609"/>
                <a:gd name="T70" fmla="*/ 456 w 498"/>
                <a:gd name="T71" fmla="*/ 538 h 609"/>
                <a:gd name="T72" fmla="*/ 495 w 498"/>
                <a:gd name="T73" fmla="*/ 468 h 609"/>
                <a:gd name="T74" fmla="*/ 136 w 498"/>
                <a:gd name="T75" fmla="*/ 127 h 609"/>
                <a:gd name="T76" fmla="*/ 142 w 498"/>
                <a:gd name="T77" fmla="*/ 98 h 609"/>
                <a:gd name="T78" fmla="*/ 172 w 498"/>
                <a:gd name="T79" fmla="*/ 80 h 609"/>
                <a:gd name="T80" fmla="*/ 198 w 498"/>
                <a:gd name="T81" fmla="*/ 141 h 609"/>
                <a:gd name="T82" fmla="*/ 166 w 498"/>
                <a:gd name="T83" fmla="*/ 156 h 609"/>
                <a:gd name="T84" fmla="*/ 196 w 498"/>
                <a:gd name="T85" fmla="*/ 292 h 609"/>
                <a:gd name="T86" fmla="*/ 177 w 498"/>
                <a:gd name="T87" fmla="*/ 287 h 609"/>
                <a:gd name="T88" fmla="*/ 189 w 498"/>
                <a:gd name="T89" fmla="*/ 274 h 609"/>
                <a:gd name="T90" fmla="*/ 199 w 498"/>
                <a:gd name="T91" fmla="*/ 282 h 609"/>
                <a:gd name="T92" fmla="*/ 205 w 498"/>
                <a:gd name="T93" fmla="*/ 280 h 609"/>
                <a:gd name="T94" fmla="*/ 167 w 498"/>
                <a:gd name="T95" fmla="*/ 328 h 609"/>
                <a:gd name="T96" fmla="*/ 263 w 498"/>
                <a:gd name="T97" fmla="*/ 264 h 609"/>
                <a:gd name="T98" fmla="*/ 275 w 498"/>
                <a:gd name="T99" fmla="*/ 266 h 609"/>
                <a:gd name="T100" fmla="*/ 306 w 498"/>
                <a:gd name="T101" fmla="*/ 336 h 609"/>
                <a:gd name="T102" fmla="*/ 305 w 498"/>
                <a:gd name="T103" fmla="*/ 325 h 609"/>
                <a:gd name="T104" fmla="*/ 342 w 498"/>
                <a:gd name="T105" fmla="*/ 303 h 609"/>
                <a:gd name="T106" fmla="*/ 320 w 498"/>
                <a:gd name="T107" fmla="*/ 300 h 609"/>
                <a:gd name="T108" fmla="*/ 324 w 498"/>
                <a:gd name="T109" fmla="*/ 297 h 609"/>
                <a:gd name="T110" fmla="*/ 331 w 498"/>
                <a:gd name="T111" fmla="*/ 296 h 609"/>
                <a:gd name="T112" fmla="*/ 368 w 498"/>
                <a:gd name="T113" fmla="*/ 174 h 609"/>
                <a:gd name="T114" fmla="*/ 347 w 498"/>
                <a:gd name="T115" fmla="*/ 155 h 609"/>
                <a:gd name="T116" fmla="*/ 386 w 498"/>
                <a:gd name="T117" fmla="*/ 119 h 609"/>
                <a:gd name="T118" fmla="*/ 399 w 498"/>
                <a:gd name="T119" fmla="*/ 137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98" h="609">
                  <a:moveTo>
                    <a:pt x="482" y="398"/>
                  </a:moveTo>
                  <a:cubicBezTo>
                    <a:pt x="487" y="402"/>
                    <a:pt x="493" y="406"/>
                    <a:pt x="498" y="410"/>
                  </a:cubicBezTo>
                  <a:cubicBezTo>
                    <a:pt x="496" y="392"/>
                    <a:pt x="486" y="380"/>
                    <a:pt x="474" y="366"/>
                  </a:cubicBezTo>
                  <a:cubicBezTo>
                    <a:pt x="478" y="368"/>
                    <a:pt x="480" y="368"/>
                    <a:pt x="484" y="370"/>
                  </a:cubicBezTo>
                  <a:cubicBezTo>
                    <a:pt x="483" y="355"/>
                    <a:pt x="474" y="345"/>
                    <a:pt x="467" y="334"/>
                  </a:cubicBezTo>
                  <a:cubicBezTo>
                    <a:pt x="472" y="333"/>
                    <a:pt x="472" y="333"/>
                    <a:pt x="482" y="344"/>
                  </a:cubicBezTo>
                  <a:cubicBezTo>
                    <a:pt x="482" y="329"/>
                    <a:pt x="472" y="321"/>
                    <a:pt x="464" y="311"/>
                  </a:cubicBezTo>
                  <a:cubicBezTo>
                    <a:pt x="469" y="309"/>
                    <a:pt x="473" y="308"/>
                    <a:pt x="477" y="306"/>
                  </a:cubicBezTo>
                  <a:cubicBezTo>
                    <a:pt x="474" y="297"/>
                    <a:pt x="464" y="298"/>
                    <a:pt x="457" y="294"/>
                  </a:cubicBezTo>
                  <a:cubicBezTo>
                    <a:pt x="458" y="285"/>
                    <a:pt x="471" y="294"/>
                    <a:pt x="473" y="287"/>
                  </a:cubicBezTo>
                  <a:cubicBezTo>
                    <a:pt x="464" y="284"/>
                    <a:pt x="456" y="282"/>
                    <a:pt x="448" y="280"/>
                  </a:cubicBezTo>
                  <a:cubicBezTo>
                    <a:pt x="449" y="273"/>
                    <a:pt x="449" y="273"/>
                    <a:pt x="467" y="268"/>
                  </a:cubicBezTo>
                  <a:cubicBezTo>
                    <a:pt x="466" y="268"/>
                    <a:pt x="464" y="267"/>
                    <a:pt x="463" y="266"/>
                  </a:cubicBezTo>
                  <a:cubicBezTo>
                    <a:pt x="461" y="266"/>
                    <a:pt x="459" y="265"/>
                    <a:pt x="457" y="264"/>
                  </a:cubicBezTo>
                  <a:cubicBezTo>
                    <a:pt x="454" y="263"/>
                    <a:pt x="450" y="261"/>
                    <a:pt x="447" y="260"/>
                  </a:cubicBezTo>
                  <a:cubicBezTo>
                    <a:pt x="448" y="259"/>
                    <a:pt x="449" y="259"/>
                    <a:pt x="450" y="258"/>
                  </a:cubicBezTo>
                  <a:cubicBezTo>
                    <a:pt x="449" y="257"/>
                    <a:pt x="449" y="256"/>
                    <a:pt x="449" y="255"/>
                  </a:cubicBezTo>
                  <a:cubicBezTo>
                    <a:pt x="450" y="248"/>
                    <a:pt x="454" y="245"/>
                    <a:pt x="459" y="240"/>
                  </a:cubicBezTo>
                  <a:cubicBezTo>
                    <a:pt x="462" y="236"/>
                    <a:pt x="464" y="231"/>
                    <a:pt x="465" y="226"/>
                  </a:cubicBezTo>
                  <a:cubicBezTo>
                    <a:pt x="462" y="225"/>
                    <a:pt x="460" y="223"/>
                    <a:pt x="458" y="220"/>
                  </a:cubicBezTo>
                  <a:cubicBezTo>
                    <a:pt x="473" y="207"/>
                    <a:pt x="460" y="209"/>
                    <a:pt x="461" y="191"/>
                  </a:cubicBezTo>
                  <a:cubicBezTo>
                    <a:pt x="462" y="176"/>
                    <a:pt x="481" y="179"/>
                    <a:pt x="463" y="167"/>
                  </a:cubicBezTo>
                  <a:cubicBezTo>
                    <a:pt x="466" y="165"/>
                    <a:pt x="468" y="163"/>
                    <a:pt x="471" y="160"/>
                  </a:cubicBezTo>
                  <a:cubicBezTo>
                    <a:pt x="460" y="157"/>
                    <a:pt x="460" y="157"/>
                    <a:pt x="460" y="157"/>
                  </a:cubicBezTo>
                  <a:cubicBezTo>
                    <a:pt x="463" y="152"/>
                    <a:pt x="465" y="147"/>
                    <a:pt x="467" y="142"/>
                  </a:cubicBezTo>
                  <a:cubicBezTo>
                    <a:pt x="466" y="142"/>
                    <a:pt x="464" y="142"/>
                    <a:pt x="462" y="142"/>
                  </a:cubicBezTo>
                  <a:cubicBezTo>
                    <a:pt x="463" y="110"/>
                    <a:pt x="470" y="46"/>
                    <a:pt x="426" y="40"/>
                  </a:cubicBezTo>
                  <a:cubicBezTo>
                    <a:pt x="402" y="62"/>
                    <a:pt x="376" y="82"/>
                    <a:pt x="352" y="104"/>
                  </a:cubicBezTo>
                  <a:cubicBezTo>
                    <a:pt x="351" y="101"/>
                    <a:pt x="351" y="98"/>
                    <a:pt x="349" y="93"/>
                  </a:cubicBezTo>
                  <a:cubicBezTo>
                    <a:pt x="342" y="117"/>
                    <a:pt x="339" y="115"/>
                    <a:pt x="318" y="125"/>
                  </a:cubicBezTo>
                  <a:cubicBezTo>
                    <a:pt x="318" y="121"/>
                    <a:pt x="318" y="117"/>
                    <a:pt x="319" y="113"/>
                  </a:cubicBezTo>
                  <a:cubicBezTo>
                    <a:pt x="314" y="118"/>
                    <a:pt x="309" y="121"/>
                    <a:pt x="303" y="126"/>
                  </a:cubicBezTo>
                  <a:cubicBezTo>
                    <a:pt x="303" y="119"/>
                    <a:pt x="303" y="114"/>
                    <a:pt x="302" y="107"/>
                  </a:cubicBezTo>
                  <a:cubicBezTo>
                    <a:pt x="297" y="113"/>
                    <a:pt x="293" y="118"/>
                    <a:pt x="290" y="121"/>
                  </a:cubicBezTo>
                  <a:cubicBezTo>
                    <a:pt x="280" y="107"/>
                    <a:pt x="280" y="107"/>
                    <a:pt x="280" y="107"/>
                  </a:cubicBezTo>
                  <a:cubicBezTo>
                    <a:pt x="275" y="110"/>
                    <a:pt x="273" y="117"/>
                    <a:pt x="270" y="122"/>
                  </a:cubicBezTo>
                  <a:cubicBezTo>
                    <a:pt x="266" y="114"/>
                    <a:pt x="262" y="107"/>
                    <a:pt x="258" y="98"/>
                  </a:cubicBezTo>
                  <a:cubicBezTo>
                    <a:pt x="257" y="105"/>
                    <a:pt x="256" y="109"/>
                    <a:pt x="255" y="116"/>
                  </a:cubicBezTo>
                  <a:cubicBezTo>
                    <a:pt x="251" y="112"/>
                    <a:pt x="247" y="109"/>
                    <a:pt x="243" y="105"/>
                  </a:cubicBezTo>
                  <a:cubicBezTo>
                    <a:pt x="243" y="107"/>
                    <a:pt x="243" y="110"/>
                    <a:pt x="243" y="113"/>
                  </a:cubicBezTo>
                  <a:cubicBezTo>
                    <a:pt x="239" y="108"/>
                    <a:pt x="237" y="103"/>
                    <a:pt x="233" y="97"/>
                  </a:cubicBezTo>
                  <a:cubicBezTo>
                    <a:pt x="232" y="101"/>
                    <a:pt x="231" y="105"/>
                    <a:pt x="230" y="108"/>
                  </a:cubicBezTo>
                  <a:cubicBezTo>
                    <a:pt x="213" y="103"/>
                    <a:pt x="218" y="88"/>
                    <a:pt x="216" y="76"/>
                  </a:cubicBezTo>
                  <a:cubicBezTo>
                    <a:pt x="214" y="78"/>
                    <a:pt x="213" y="81"/>
                    <a:pt x="211" y="86"/>
                  </a:cubicBezTo>
                  <a:cubicBezTo>
                    <a:pt x="200" y="65"/>
                    <a:pt x="168" y="3"/>
                    <a:pt x="148" y="0"/>
                  </a:cubicBezTo>
                  <a:cubicBezTo>
                    <a:pt x="111" y="15"/>
                    <a:pt x="105" y="53"/>
                    <a:pt x="96" y="87"/>
                  </a:cubicBezTo>
                  <a:cubicBezTo>
                    <a:pt x="96" y="89"/>
                    <a:pt x="95" y="91"/>
                    <a:pt x="95" y="93"/>
                  </a:cubicBezTo>
                  <a:cubicBezTo>
                    <a:pt x="96" y="94"/>
                    <a:pt x="96" y="96"/>
                    <a:pt x="95" y="97"/>
                  </a:cubicBezTo>
                  <a:cubicBezTo>
                    <a:pt x="93" y="106"/>
                    <a:pt x="89" y="115"/>
                    <a:pt x="80" y="118"/>
                  </a:cubicBezTo>
                  <a:cubicBezTo>
                    <a:pt x="79" y="118"/>
                    <a:pt x="78" y="119"/>
                    <a:pt x="77" y="118"/>
                  </a:cubicBezTo>
                  <a:cubicBezTo>
                    <a:pt x="80" y="125"/>
                    <a:pt x="86" y="135"/>
                    <a:pt x="81" y="141"/>
                  </a:cubicBezTo>
                  <a:cubicBezTo>
                    <a:pt x="70" y="152"/>
                    <a:pt x="69" y="154"/>
                    <a:pt x="78" y="166"/>
                  </a:cubicBezTo>
                  <a:cubicBezTo>
                    <a:pt x="76" y="166"/>
                    <a:pt x="75" y="167"/>
                    <a:pt x="74" y="167"/>
                  </a:cubicBezTo>
                  <a:cubicBezTo>
                    <a:pt x="76" y="172"/>
                    <a:pt x="77" y="176"/>
                    <a:pt x="79" y="181"/>
                  </a:cubicBezTo>
                  <a:cubicBezTo>
                    <a:pt x="80" y="184"/>
                    <a:pt x="81" y="188"/>
                    <a:pt x="82" y="191"/>
                  </a:cubicBezTo>
                  <a:cubicBezTo>
                    <a:pt x="84" y="197"/>
                    <a:pt x="85" y="205"/>
                    <a:pt x="83" y="211"/>
                  </a:cubicBezTo>
                  <a:cubicBezTo>
                    <a:pt x="83" y="211"/>
                    <a:pt x="83" y="211"/>
                    <a:pt x="83" y="212"/>
                  </a:cubicBezTo>
                  <a:cubicBezTo>
                    <a:pt x="83" y="212"/>
                    <a:pt x="83" y="213"/>
                    <a:pt x="83" y="214"/>
                  </a:cubicBezTo>
                  <a:cubicBezTo>
                    <a:pt x="83" y="214"/>
                    <a:pt x="84" y="214"/>
                    <a:pt x="84" y="214"/>
                  </a:cubicBezTo>
                  <a:cubicBezTo>
                    <a:pt x="84" y="214"/>
                    <a:pt x="83" y="215"/>
                    <a:pt x="82" y="215"/>
                  </a:cubicBezTo>
                  <a:cubicBezTo>
                    <a:pt x="81" y="217"/>
                    <a:pt x="79" y="219"/>
                    <a:pt x="76" y="218"/>
                  </a:cubicBezTo>
                  <a:cubicBezTo>
                    <a:pt x="76" y="218"/>
                    <a:pt x="76" y="218"/>
                    <a:pt x="76" y="218"/>
                  </a:cubicBezTo>
                  <a:cubicBezTo>
                    <a:pt x="75" y="219"/>
                    <a:pt x="74" y="219"/>
                    <a:pt x="74" y="219"/>
                  </a:cubicBezTo>
                  <a:cubicBezTo>
                    <a:pt x="62" y="224"/>
                    <a:pt x="45" y="231"/>
                    <a:pt x="46" y="235"/>
                  </a:cubicBezTo>
                  <a:cubicBezTo>
                    <a:pt x="55" y="236"/>
                    <a:pt x="62" y="230"/>
                    <a:pt x="70" y="238"/>
                  </a:cubicBezTo>
                  <a:cubicBezTo>
                    <a:pt x="51" y="242"/>
                    <a:pt x="38" y="253"/>
                    <a:pt x="24" y="266"/>
                  </a:cubicBezTo>
                  <a:cubicBezTo>
                    <a:pt x="35" y="266"/>
                    <a:pt x="44" y="260"/>
                    <a:pt x="55" y="266"/>
                  </a:cubicBezTo>
                  <a:cubicBezTo>
                    <a:pt x="38" y="270"/>
                    <a:pt x="25" y="277"/>
                    <a:pt x="16" y="293"/>
                  </a:cubicBezTo>
                  <a:cubicBezTo>
                    <a:pt x="27" y="293"/>
                    <a:pt x="37" y="292"/>
                    <a:pt x="47" y="291"/>
                  </a:cubicBezTo>
                  <a:cubicBezTo>
                    <a:pt x="25" y="300"/>
                    <a:pt x="6" y="310"/>
                    <a:pt x="0" y="338"/>
                  </a:cubicBezTo>
                  <a:cubicBezTo>
                    <a:pt x="13" y="331"/>
                    <a:pt x="47" y="307"/>
                    <a:pt x="56" y="325"/>
                  </a:cubicBezTo>
                  <a:cubicBezTo>
                    <a:pt x="33" y="329"/>
                    <a:pt x="14" y="337"/>
                    <a:pt x="1" y="360"/>
                  </a:cubicBezTo>
                  <a:cubicBezTo>
                    <a:pt x="11" y="358"/>
                    <a:pt x="17" y="349"/>
                    <a:pt x="27" y="354"/>
                  </a:cubicBezTo>
                  <a:cubicBezTo>
                    <a:pt x="18" y="365"/>
                    <a:pt x="9" y="375"/>
                    <a:pt x="1" y="386"/>
                  </a:cubicBezTo>
                  <a:cubicBezTo>
                    <a:pt x="5" y="389"/>
                    <a:pt x="10" y="388"/>
                    <a:pt x="15" y="382"/>
                  </a:cubicBezTo>
                  <a:cubicBezTo>
                    <a:pt x="15" y="382"/>
                    <a:pt x="1" y="441"/>
                    <a:pt x="1" y="451"/>
                  </a:cubicBezTo>
                  <a:cubicBezTo>
                    <a:pt x="7" y="446"/>
                    <a:pt x="13" y="444"/>
                    <a:pt x="20" y="445"/>
                  </a:cubicBezTo>
                  <a:cubicBezTo>
                    <a:pt x="18" y="455"/>
                    <a:pt x="12" y="463"/>
                    <a:pt x="9" y="473"/>
                  </a:cubicBezTo>
                  <a:cubicBezTo>
                    <a:pt x="16" y="469"/>
                    <a:pt x="22" y="463"/>
                    <a:pt x="31" y="467"/>
                  </a:cubicBezTo>
                  <a:cubicBezTo>
                    <a:pt x="25" y="476"/>
                    <a:pt x="19" y="486"/>
                    <a:pt x="22" y="498"/>
                  </a:cubicBezTo>
                  <a:cubicBezTo>
                    <a:pt x="40" y="486"/>
                    <a:pt x="40" y="486"/>
                    <a:pt x="46" y="488"/>
                  </a:cubicBezTo>
                  <a:cubicBezTo>
                    <a:pt x="42" y="501"/>
                    <a:pt x="42" y="513"/>
                    <a:pt x="51" y="526"/>
                  </a:cubicBezTo>
                  <a:cubicBezTo>
                    <a:pt x="54" y="517"/>
                    <a:pt x="54" y="508"/>
                    <a:pt x="65" y="506"/>
                  </a:cubicBezTo>
                  <a:cubicBezTo>
                    <a:pt x="63" y="518"/>
                    <a:pt x="63" y="530"/>
                    <a:pt x="72" y="541"/>
                  </a:cubicBezTo>
                  <a:cubicBezTo>
                    <a:pt x="75" y="531"/>
                    <a:pt x="78" y="522"/>
                    <a:pt x="88" y="517"/>
                  </a:cubicBezTo>
                  <a:cubicBezTo>
                    <a:pt x="93" y="537"/>
                    <a:pt x="105" y="552"/>
                    <a:pt x="123" y="563"/>
                  </a:cubicBezTo>
                  <a:cubicBezTo>
                    <a:pt x="119" y="548"/>
                    <a:pt x="119" y="548"/>
                    <a:pt x="126" y="546"/>
                  </a:cubicBezTo>
                  <a:cubicBezTo>
                    <a:pt x="131" y="564"/>
                    <a:pt x="143" y="576"/>
                    <a:pt x="159" y="584"/>
                  </a:cubicBezTo>
                  <a:cubicBezTo>
                    <a:pt x="145" y="562"/>
                    <a:pt x="127" y="541"/>
                    <a:pt x="120" y="512"/>
                  </a:cubicBezTo>
                  <a:cubicBezTo>
                    <a:pt x="115" y="518"/>
                    <a:pt x="110" y="522"/>
                    <a:pt x="105" y="527"/>
                  </a:cubicBezTo>
                  <a:cubicBezTo>
                    <a:pt x="101" y="513"/>
                    <a:pt x="103" y="500"/>
                    <a:pt x="111" y="489"/>
                  </a:cubicBezTo>
                  <a:cubicBezTo>
                    <a:pt x="102" y="485"/>
                    <a:pt x="93" y="485"/>
                    <a:pt x="84" y="489"/>
                  </a:cubicBezTo>
                  <a:cubicBezTo>
                    <a:pt x="86" y="481"/>
                    <a:pt x="87" y="479"/>
                    <a:pt x="105" y="460"/>
                  </a:cubicBezTo>
                  <a:cubicBezTo>
                    <a:pt x="94" y="459"/>
                    <a:pt x="86" y="464"/>
                    <a:pt x="76" y="467"/>
                  </a:cubicBezTo>
                  <a:cubicBezTo>
                    <a:pt x="84" y="455"/>
                    <a:pt x="92" y="443"/>
                    <a:pt x="101" y="429"/>
                  </a:cubicBezTo>
                  <a:cubicBezTo>
                    <a:pt x="93" y="426"/>
                    <a:pt x="86" y="424"/>
                    <a:pt x="79" y="422"/>
                  </a:cubicBezTo>
                  <a:cubicBezTo>
                    <a:pt x="89" y="413"/>
                    <a:pt x="101" y="413"/>
                    <a:pt x="115" y="415"/>
                  </a:cubicBezTo>
                  <a:cubicBezTo>
                    <a:pt x="112" y="410"/>
                    <a:pt x="110" y="407"/>
                    <a:pt x="108" y="403"/>
                  </a:cubicBezTo>
                  <a:cubicBezTo>
                    <a:pt x="117" y="405"/>
                    <a:pt x="124" y="406"/>
                    <a:pt x="133" y="407"/>
                  </a:cubicBezTo>
                  <a:cubicBezTo>
                    <a:pt x="119" y="385"/>
                    <a:pt x="96" y="386"/>
                    <a:pt x="74" y="379"/>
                  </a:cubicBezTo>
                  <a:cubicBezTo>
                    <a:pt x="82" y="374"/>
                    <a:pt x="90" y="370"/>
                    <a:pt x="99" y="365"/>
                  </a:cubicBezTo>
                  <a:cubicBezTo>
                    <a:pt x="89" y="361"/>
                    <a:pt x="79" y="363"/>
                    <a:pt x="68" y="363"/>
                  </a:cubicBezTo>
                  <a:cubicBezTo>
                    <a:pt x="72" y="360"/>
                    <a:pt x="77" y="357"/>
                    <a:pt x="82" y="353"/>
                  </a:cubicBezTo>
                  <a:cubicBezTo>
                    <a:pt x="75" y="356"/>
                    <a:pt x="71" y="355"/>
                    <a:pt x="70" y="350"/>
                  </a:cubicBezTo>
                  <a:cubicBezTo>
                    <a:pt x="93" y="339"/>
                    <a:pt x="93" y="339"/>
                    <a:pt x="93" y="339"/>
                  </a:cubicBezTo>
                  <a:cubicBezTo>
                    <a:pt x="87" y="337"/>
                    <a:pt x="83" y="335"/>
                    <a:pt x="78" y="333"/>
                  </a:cubicBezTo>
                  <a:cubicBezTo>
                    <a:pt x="102" y="300"/>
                    <a:pt x="112" y="348"/>
                    <a:pt x="121" y="361"/>
                  </a:cubicBezTo>
                  <a:cubicBezTo>
                    <a:pt x="121" y="347"/>
                    <a:pt x="120" y="334"/>
                    <a:pt x="120" y="318"/>
                  </a:cubicBezTo>
                  <a:cubicBezTo>
                    <a:pt x="138" y="325"/>
                    <a:pt x="148" y="342"/>
                    <a:pt x="163" y="354"/>
                  </a:cubicBezTo>
                  <a:cubicBezTo>
                    <a:pt x="179" y="366"/>
                    <a:pt x="194" y="366"/>
                    <a:pt x="173" y="383"/>
                  </a:cubicBezTo>
                  <a:cubicBezTo>
                    <a:pt x="189" y="391"/>
                    <a:pt x="199" y="381"/>
                    <a:pt x="213" y="375"/>
                  </a:cubicBezTo>
                  <a:cubicBezTo>
                    <a:pt x="214" y="386"/>
                    <a:pt x="206" y="398"/>
                    <a:pt x="209" y="408"/>
                  </a:cubicBezTo>
                  <a:cubicBezTo>
                    <a:pt x="213" y="420"/>
                    <a:pt x="239" y="412"/>
                    <a:pt x="247" y="413"/>
                  </a:cubicBezTo>
                  <a:cubicBezTo>
                    <a:pt x="281" y="417"/>
                    <a:pt x="286" y="430"/>
                    <a:pt x="287" y="391"/>
                  </a:cubicBezTo>
                  <a:cubicBezTo>
                    <a:pt x="316" y="392"/>
                    <a:pt x="314" y="426"/>
                    <a:pt x="319" y="381"/>
                  </a:cubicBezTo>
                  <a:cubicBezTo>
                    <a:pt x="332" y="393"/>
                    <a:pt x="332" y="393"/>
                    <a:pt x="332" y="393"/>
                  </a:cubicBezTo>
                  <a:cubicBezTo>
                    <a:pt x="339" y="379"/>
                    <a:pt x="354" y="376"/>
                    <a:pt x="368" y="374"/>
                  </a:cubicBezTo>
                  <a:cubicBezTo>
                    <a:pt x="366" y="381"/>
                    <a:pt x="359" y="388"/>
                    <a:pt x="363" y="398"/>
                  </a:cubicBezTo>
                  <a:cubicBezTo>
                    <a:pt x="366" y="380"/>
                    <a:pt x="397" y="356"/>
                    <a:pt x="411" y="376"/>
                  </a:cubicBezTo>
                  <a:cubicBezTo>
                    <a:pt x="407" y="377"/>
                    <a:pt x="403" y="378"/>
                    <a:pt x="398" y="379"/>
                  </a:cubicBezTo>
                  <a:cubicBezTo>
                    <a:pt x="402" y="386"/>
                    <a:pt x="406" y="392"/>
                    <a:pt x="410" y="399"/>
                  </a:cubicBezTo>
                  <a:cubicBezTo>
                    <a:pt x="403" y="398"/>
                    <a:pt x="398" y="398"/>
                    <a:pt x="390" y="396"/>
                  </a:cubicBezTo>
                  <a:cubicBezTo>
                    <a:pt x="399" y="406"/>
                    <a:pt x="401" y="415"/>
                    <a:pt x="399" y="426"/>
                  </a:cubicBezTo>
                  <a:cubicBezTo>
                    <a:pt x="394" y="426"/>
                    <a:pt x="389" y="426"/>
                    <a:pt x="383" y="427"/>
                  </a:cubicBezTo>
                  <a:cubicBezTo>
                    <a:pt x="384" y="429"/>
                    <a:pt x="385" y="431"/>
                    <a:pt x="385" y="432"/>
                  </a:cubicBezTo>
                  <a:cubicBezTo>
                    <a:pt x="379" y="434"/>
                    <a:pt x="344" y="440"/>
                    <a:pt x="343" y="446"/>
                  </a:cubicBezTo>
                  <a:cubicBezTo>
                    <a:pt x="359" y="450"/>
                    <a:pt x="369" y="462"/>
                    <a:pt x="376" y="476"/>
                  </a:cubicBezTo>
                  <a:cubicBezTo>
                    <a:pt x="365" y="475"/>
                    <a:pt x="355" y="476"/>
                    <a:pt x="348" y="486"/>
                  </a:cubicBezTo>
                  <a:cubicBezTo>
                    <a:pt x="352" y="492"/>
                    <a:pt x="355" y="497"/>
                    <a:pt x="359" y="503"/>
                  </a:cubicBezTo>
                  <a:cubicBezTo>
                    <a:pt x="336" y="515"/>
                    <a:pt x="335" y="512"/>
                    <a:pt x="339" y="537"/>
                  </a:cubicBezTo>
                  <a:cubicBezTo>
                    <a:pt x="340" y="545"/>
                    <a:pt x="327" y="541"/>
                    <a:pt x="324" y="541"/>
                  </a:cubicBezTo>
                  <a:cubicBezTo>
                    <a:pt x="315" y="541"/>
                    <a:pt x="307" y="600"/>
                    <a:pt x="305" y="609"/>
                  </a:cubicBezTo>
                  <a:cubicBezTo>
                    <a:pt x="310" y="602"/>
                    <a:pt x="316" y="594"/>
                    <a:pt x="321" y="586"/>
                  </a:cubicBezTo>
                  <a:cubicBezTo>
                    <a:pt x="330" y="590"/>
                    <a:pt x="326" y="604"/>
                    <a:pt x="333" y="604"/>
                  </a:cubicBezTo>
                  <a:cubicBezTo>
                    <a:pt x="334" y="596"/>
                    <a:pt x="335" y="589"/>
                    <a:pt x="335" y="581"/>
                  </a:cubicBezTo>
                  <a:cubicBezTo>
                    <a:pt x="343" y="582"/>
                    <a:pt x="356" y="597"/>
                    <a:pt x="360" y="595"/>
                  </a:cubicBezTo>
                  <a:cubicBezTo>
                    <a:pt x="359" y="588"/>
                    <a:pt x="358" y="580"/>
                    <a:pt x="356" y="572"/>
                  </a:cubicBezTo>
                  <a:cubicBezTo>
                    <a:pt x="369" y="575"/>
                    <a:pt x="380" y="582"/>
                    <a:pt x="388" y="594"/>
                  </a:cubicBezTo>
                  <a:cubicBezTo>
                    <a:pt x="394" y="582"/>
                    <a:pt x="387" y="573"/>
                    <a:pt x="383" y="563"/>
                  </a:cubicBezTo>
                  <a:cubicBezTo>
                    <a:pt x="398" y="562"/>
                    <a:pt x="410" y="567"/>
                    <a:pt x="423" y="575"/>
                  </a:cubicBezTo>
                  <a:cubicBezTo>
                    <a:pt x="428" y="557"/>
                    <a:pt x="418" y="546"/>
                    <a:pt x="410" y="533"/>
                  </a:cubicBezTo>
                  <a:cubicBezTo>
                    <a:pt x="418" y="533"/>
                    <a:pt x="436" y="546"/>
                    <a:pt x="442" y="544"/>
                  </a:cubicBezTo>
                  <a:cubicBezTo>
                    <a:pt x="441" y="533"/>
                    <a:pt x="440" y="521"/>
                    <a:pt x="438" y="510"/>
                  </a:cubicBezTo>
                  <a:cubicBezTo>
                    <a:pt x="444" y="520"/>
                    <a:pt x="450" y="529"/>
                    <a:pt x="456" y="538"/>
                  </a:cubicBezTo>
                  <a:cubicBezTo>
                    <a:pt x="461" y="531"/>
                    <a:pt x="464" y="493"/>
                    <a:pt x="467" y="492"/>
                  </a:cubicBezTo>
                  <a:cubicBezTo>
                    <a:pt x="471" y="498"/>
                    <a:pt x="475" y="505"/>
                    <a:pt x="478" y="511"/>
                  </a:cubicBezTo>
                  <a:cubicBezTo>
                    <a:pt x="486" y="495"/>
                    <a:pt x="483" y="476"/>
                    <a:pt x="482" y="459"/>
                  </a:cubicBezTo>
                  <a:cubicBezTo>
                    <a:pt x="489" y="456"/>
                    <a:pt x="488" y="470"/>
                    <a:pt x="495" y="468"/>
                  </a:cubicBezTo>
                  <a:cubicBezTo>
                    <a:pt x="491" y="454"/>
                    <a:pt x="486" y="441"/>
                    <a:pt x="482" y="427"/>
                  </a:cubicBezTo>
                  <a:cubicBezTo>
                    <a:pt x="488" y="431"/>
                    <a:pt x="492" y="434"/>
                    <a:pt x="497" y="437"/>
                  </a:cubicBezTo>
                  <a:cubicBezTo>
                    <a:pt x="497" y="431"/>
                    <a:pt x="482" y="399"/>
                    <a:pt x="482" y="398"/>
                  </a:cubicBezTo>
                  <a:close/>
                  <a:moveTo>
                    <a:pt x="136" y="127"/>
                  </a:moveTo>
                  <a:cubicBezTo>
                    <a:pt x="139" y="127"/>
                    <a:pt x="141" y="127"/>
                    <a:pt x="145" y="127"/>
                  </a:cubicBezTo>
                  <a:cubicBezTo>
                    <a:pt x="140" y="122"/>
                    <a:pt x="137" y="118"/>
                    <a:pt x="133" y="114"/>
                  </a:cubicBezTo>
                  <a:cubicBezTo>
                    <a:pt x="139" y="112"/>
                    <a:pt x="156" y="110"/>
                    <a:pt x="156" y="103"/>
                  </a:cubicBezTo>
                  <a:cubicBezTo>
                    <a:pt x="151" y="101"/>
                    <a:pt x="147" y="100"/>
                    <a:pt x="142" y="98"/>
                  </a:cubicBezTo>
                  <a:cubicBezTo>
                    <a:pt x="149" y="97"/>
                    <a:pt x="155" y="95"/>
                    <a:pt x="164" y="94"/>
                  </a:cubicBezTo>
                  <a:cubicBezTo>
                    <a:pt x="157" y="95"/>
                    <a:pt x="154" y="93"/>
                    <a:pt x="154" y="89"/>
                  </a:cubicBezTo>
                  <a:cubicBezTo>
                    <a:pt x="160" y="89"/>
                    <a:pt x="167" y="89"/>
                    <a:pt x="174" y="89"/>
                  </a:cubicBezTo>
                  <a:cubicBezTo>
                    <a:pt x="173" y="86"/>
                    <a:pt x="173" y="83"/>
                    <a:pt x="172" y="80"/>
                  </a:cubicBezTo>
                  <a:cubicBezTo>
                    <a:pt x="188" y="89"/>
                    <a:pt x="213" y="101"/>
                    <a:pt x="218" y="121"/>
                  </a:cubicBezTo>
                  <a:cubicBezTo>
                    <a:pt x="223" y="138"/>
                    <a:pt x="201" y="128"/>
                    <a:pt x="191" y="126"/>
                  </a:cubicBezTo>
                  <a:cubicBezTo>
                    <a:pt x="191" y="126"/>
                    <a:pt x="190" y="125"/>
                    <a:pt x="187" y="126"/>
                  </a:cubicBezTo>
                  <a:cubicBezTo>
                    <a:pt x="191" y="130"/>
                    <a:pt x="201" y="135"/>
                    <a:pt x="198" y="141"/>
                  </a:cubicBezTo>
                  <a:cubicBezTo>
                    <a:pt x="193" y="140"/>
                    <a:pt x="187" y="139"/>
                    <a:pt x="182" y="138"/>
                  </a:cubicBezTo>
                  <a:cubicBezTo>
                    <a:pt x="181" y="142"/>
                    <a:pt x="180" y="147"/>
                    <a:pt x="179" y="152"/>
                  </a:cubicBezTo>
                  <a:cubicBezTo>
                    <a:pt x="176" y="151"/>
                    <a:pt x="163" y="144"/>
                    <a:pt x="160" y="146"/>
                  </a:cubicBezTo>
                  <a:cubicBezTo>
                    <a:pt x="162" y="149"/>
                    <a:pt x="164" y="153"/>
                    <a:pt x="166" y="156"/>
                  </a:cubicBezTo>
                  <a:cubicBezTo>
                    <a:pt x="154" y="153"/>
                    <a:pt x="144" y="143"/>
                    <a:pt x="136" y="127"/>
                  </a:cubicBezTo>
                  <a:close/>
                  <a:moveTo>
                    <a:pt x="199" y="288"/>
                  </a:moveTo>
                  <a:cubicBezTo>
                    <a:pt x="199" y="289"/>
                    <a:pt x="199" y="290"/>
                    <a:pt x="198" y="291"/>
                  </a:cubicBezTo>
                  <a:cubicBezTo>
                    <a:pt x="197" y="291"/>
                    <a:pt x="196" y="292"/>
                    <a:pt x="196" y="292"/>
                  </a:cubicBezTo>
                  <a:cubicBezTo>
                    <a:pt x="193" y="294"/>
                    <a:pt x="190" y="293"/>
                    <a:pt x="187" y="292"/>
                  </a:cubicBezTo>
                  <a:cubicBezTo>
                    <a:pt x="187" y="292"/>
                    <a:pt x="187" y="292"/>
                    <a:pt x="187" y="292"/>
                  </a:cubicBezTo>
                  <a:cubicBezTo>
                    <a:pt x="184" y="292"/>
                    <a:pt x="181" y="291"/>
                    <a:pt x="179" y="289"/>
                  </a:cubicBezTo>
                  <a:cubicBezTo>
                    <a:pt x="178" y="288"/>
                    <a:pt x="177" y="288"/>
                    <a:pt x="177" y="287"/>
                  </a:cubicBezTo>
                  <a:cubicBezTo>
                    <a:pt x="175" y="286"/>
                    <a:pt x="175" y="285"/>
                    <a:pt x="175" y="283"/>
                  </a:cubicBezTo>
                  <a:cubicBezTo>
                    <a:pt x="173" y="279"/>
                    <a:pt x="175" y="278"/>
                    <a:pt x="178" y="277"/>
                  </a:cubicBezTo>
                  <a:cubicBezTo>
                    <a:pt x="180" y="275"/>
                    <a:pt x="183" y="274"/>
                    <a:pt x="185" y="274"/>
                  </a:cubicBezTo>
                  <a:cubicBezTo>
                    <a:pt x="187" y="274"/>
                    <a:pt x="188" y="274"/>
                    <a:pt x="189" y="274"/>
                  </a:cubicBezTo>
                  <a:cubicBezTo>
                    <a:pt x="189" y="274"/>
                    <a:pt x="189" y="274"/>
                    <a:pt x="189" y="274"/>
                  </a:cubicBezTo>
                  <a:cubicBezTo>
                    <a:pt x="191" y="274"/>
                    <a:pt x="192" y="274"/>
                    <a:pt x="193" y="275"/>
                  </a:cubicBezTo>
                  <a:cubicBezTo>
                    <a:pt x="197" y="277"/>
                    <a:pt x="199" y="279"/>
                    <a:pt x="199" y="281"/>
                  </a:cubicBezTo>
                  <a:cubicBezTo>
                    <a:pt x="199" y="281"/>
                    <a:pt x="199" y="282"/>
                    <a:pt x="199" y="282"/>
                  </a:cubicBezTo>
                  <a:cubicBezTo>
                    <a:pt x="200" y="283"/>
                    <a:pt x="200" y="284"/>
                    <a:pt x="200" y="285"/>
                  </a:cubicBezTo>
                  <a:cubicBezTo>
                    <a:pt x="200" y="286"/>
                    <a:pt x="200" y="287"/>
                    <a:pt x="199" y="288"/>
                  </a:cubicBezTo>
                  <a:close/>
                  <a:moveTo>
                    <a:pt x="219" y="318"/>
                  </a:moveTo>
                  <a:cubicBezTo>
                    <a:pt x="204" y="306"/>
                    <a:pt x="212" y="296"/>
                    <a:pt x="205" y="280"/>
                  </a:cubicBezTo>
                  <a:cubicBezTo>
                    <a:pt x="199" y="264"/>
                    <a:pt x="172" y="272"/>
                    <a:pt x="161" y="273"/>
                  </a:cubicBezTo>
                  <a:cubicBezTo>
                    <a:pt x="165" y="283"/>
                    <a:pt x="170" y="294"/>
                    <a:pt x="180" y="300"/>
                  </a:cubicBezTo>
                  <a:cubicBezTo>
                    <a:pt x="186" y="302"/>
                    <a:pt x="192" y="305"/>
                    <a:pt x="198" y="309"/>
                  </a:cubicBezTo>
                  <a:cubicBezTo>
                    <a:pt x="203" y="322"/>
                    <a:pt x="177" y="336"/>
                    <a:pt x="167" y="328"/>
                  </a:cubicBezTo>
                  <a:cubicBezTo>
                    <a:pt x="148" y="313"/>
                    <a:pt x="142" y="259"/>
                    <a:pt x="177" y="261"/>
                  </a:cubicBezTo>
                  <a:cubicBezTo>
                    <a:pt x="207" y="262"/>
                    <a:pt x="243" y="285"/>
                    <a:pt x="219" y="318"/>
                  </a:cubicBezTo>
                  <a:close/>
                  <a:moveTo>
                    <a:pt x="281" y="296"/>
                  </a:moveTo>
                  <a:cubicBezTo>
                    <a:pt x="272" y="288"/>
                    <a:pt x="267" y="276"/>
                    <a:pt x="263" y="264"/>
                  </a:cubicBezTo>
                  <a:cubicBezTo>
                    <a:pt x="256" y="274"/>
                    <a:pt x="248" y="283"/>
                    <a:pt x="239" y="292"/>
                  </a:cubicBezTo>
                  <a:cubicBezTo>
                    <a:pt x="240" y="286"/>
                    <a:pt x="242" y="246"/>
                    <a:pt x="247" y="244"/>
                  </a:cubicBezTo>
                  <a:cubicBezTo>
                    <a:pt x="248" y="250"/>
                    <a:pt x="249" y="255"/>
                    <a:pt x="251" y="260"/>
                  </a:cubicBezTo>
                  <a:cubicBezTo>
                    <a:pt x="265" y="243"/>
                    <a:pt x="267" y="249"/>
                    <a:pt x="275" y="266"/>
                  </a:cubicBezTo>
                  <a:cubicBezTo>
                    <a:pt x="275" y="266"/>
                    <a:pt x="275" y="266"/>
                    <a:pt x="275" y="265"/>
                  </a:cubicBezTo>
                  <a:cubicBezTo>
                    <a:pt x="281" y="256"/>
                    <a:pt x="283" y="246"/>
                    <a:pt x="292" y="242"/>
                  </a:cubicBezTo>
                  <a:cubicBezTo>
                    <a:pt x="288" y="260"/>
                    <a:pt x="285" y="278"/>
                    <a:pt x="281" y="296"/>
                  </a:cubicBezTo>
                  <a:close/>
                  <a:moveTo>
                    <a:pt x="306" y="336"/>
                  </a:moveTo>
                  <a:cubicBezTo>
                    <a:pt x="288" y="332"/>
                    <a:pt x="288" y="294"/>
                    <a:pt x="307" y="292"/>
                  </a:cubicBezTo>
                  <a:cubicBezTo>
                    <a:pt x="332" y="290"/>
                    <a:pt x="335" y="272"/>
                    <a:pt x="360" y="292"/>
                  </a:cubicBezTo>
                  <a:cubicBezTo>
                    <a:pt x="346" y="307"/>
                    <a:pt x="332" y="282"/>
                    <a:pt x="319" y="296"/>
                  </a:cubicBezTo>
                  <a:cubicBezTo>
                    <a:pt x="313" y="303"/>
                    <a:pt x="307" y="316"/>
                    <a:pt x="305" y="325"/>
                  </a:cubicBezTo>
                  <a:cubicBezTo>
                    <a:pt x="320" y="326"/>
                    <a:pt x="328" y="327"/>
                    <a:pt x="341" y="318"/>
                  </a:cubicBezTo>
                  <a:cubicBezTo>
                    <a:pt x="351" y="312"/>
                    <a:pt x="350" y="298"/>
                    <a:pt x="362" y="312"/>
                  </a:cubicBezTo>
                  <a:cubicBezTo>
                    <a:pt x="348" y="337"/>
                    <a:pt x="335" y="343"/>
                    <a:pt x="306" y="336"/>
                  </a:cubicBezTo>
                  <a:close/>
                  <a:moveTo>
                    <a:pt x="342" y="303"/>
                  </a:moveTo>
                  <a:cubicBezTo>
                    <a:pt x="336" y="310"/>
                    <a:pt x="331" y="314"/>
                    <a:pt x="327" y="313"/>
                  </a:cubicBezTo>
                  <a:cubicBezTo>
                    <a:pt x="325" y="313"/>
                    <a:pt x="322" y="312"/>
                    <a:pt x="321" y="310"/>
                  </a:cubicBezTo>
                  <a:cubicBezTo>
                    <a:pt x="320" y="309"/>
                    <a:pt x="320" y="308"/>
                    <a:pt x="319" y="307"/>
                  </a:cubicBezTo>
                  <a:cubicBezTo>
                    <a:pt x="319" y="304"/>
                    <a:pt x="319" y="302"/>
                    <a:pt x="320" y="300"/>
                  </a:cubicBezTo>
                  <a:cubicBezTo>
                    <a:pt x="320" y="300"/>
                    <a:pt x="321" y="299"/>
                    <a:pt x="321" y="299"/>
                  </a:cubicBezTo>
                  <a:cubicBezTo>
                    <a:pt x="321" y="298"/>
                    <a:pt x="321" y="298"/>
                    <a:pt x="321" y="297"/>
                  </a:cubicBezTo>
                  <a:cubicBezTo>
                    <a:pt x="321" y="297"/>
                    <a:pt x="322" y="298"/>
                    <a:pt x="322" y="298"/>
                  </a:cubicBezTo>
                  <a:cubicBezTo>
                    <a:pt x="323" y="297"/>
                    <a:pt x="323" y="297"/>
                    <a:pt x="324" y="297"/>
                  </a:cubicBezTo>
                  <a:cubicBezTo>
                    <a:pt x="324" y="297"/>
                    <a:pt x="324" y="297"/>
                    <a:pt x="324" y="297"/>
                  </a:cubicBezTo>
                  <a:cubicBezTo>
                    <a:pt x="326" y="296"/>
                    <a:pt x="328" y="295"/>
                    <a:pt x="329" y="296"/>
                  </a:cubicBezTo>
                  <a:cubicBezTo>
                    <a:pt x="330" y="296"/>
                    <a:pt x="331" y="296"/>
                    <a:pt x="331" y="297"/>
                  </a:cubicBezTo>
                  <a:cubicBezTo>
                    <a:pt x="331" y="297"/>
                    <a:pt x="331" y="296"/>
                    <a:pt x="331" y="296"/>
                  </a:cubicBezTo>
                  <a:cubicBezTo>
                    <a:pt x="335" y="298"/>
                    <a:pt x="338" y="301"/>
                    <a:pt x="342" y="303"/>
                  </a:cubicBezTo>
                  <a:close/>
                  <a:moveTo>
                    <a:pt x="406" y="164"/>
                  </a:moveTo>
                  <a:cubicBezTo>
                    <a:pt x="410" y="164"/>
                    <a:pt x="412" y="165"/>
                    <a:pt x="413" y="168"/>
                  </a:cubicBezTo>
                  <a:cubicBezTo>
                    <a:pt x="397" y="178"/>
                    <a:pt x="382" y="196"/>
                    <a:pt x="368" y="174"/>
                  </a:cubicBezTo>
                  <a:cubicBezTo>
                    <a:pt x="371" y="173"/>
                    <a:pt x="389" y="170"/>
                    <a:pt x="389" y="166"/>
                  </a:cubicBezTo>
                  <a:cubicBezTo>
                    <a:pt x="379" y="165"/>
                    <a:pt x="369" y="163"/>
                    <a:pt x="358" y="162"/>
                  </a:cubicBezTo>
                  <a:cubicBezTo>
                    <a:pt x="362" y="157"/>
                    <a:pt x="365" y="152"/>
                    <a:pt x="369" y="146"/>
                  </a:cubicBezTo>
                  <a:cubicBezTo>
                    <a:pt x="360" y="144"/>
                    <a:pt x="353" y="149"/>
                    <a:pt x="347" y="155"/>
                  </a:cubicBezTo>
                  <a:cubicBezTo>
                    <a:pt x="343" y="147"/>
                    <a:pt x="354" y="134"/>
                    <a:pt x="352" y="132"/>
                  </a:cubicBezTo>
                  <a:cubicBezTo>
                    <a:pt x="346" y="135"/>
                    <a:pt x="340" y="138"/>
                    <a:pt x="334" y="142"/>
                  </a:cubicBezTo>
                  <a:cubicBezTo>
                    <a:pt x="341" y="127"/>
                    <a:pt x="368" y="112"/>
                    <a:pt x="390" y="113"/>
                  </a:cubicBezTo>
                  <a:cubicBezTo>
                    <a:pt x="389" y="115"/>
                    <a:pt x="388" y="117"/>
                    <a:pt x="386" y="119"/>
                  </a:cubicBezTo>
                  <a:cubicBezTo>
                    <a:pt x="393" y="121"/>
                    <a:pt x="399" y="123"/>
                    <a:pt x="406" y="125"/>
                  </a:cubicBezTo>
                  <a:cubicBezTo>
                    <a:pt x="404" y="129"/>
                    <a:pt x="398" y="123"/>
                    <a:pt x="397" y="128"/>
                  </a:cubicBezTo>
                  <a:cubicBezTo>
                    <a:pt x="403" y="131"/>
                    <a:pt x="409" y="134"/>
                    <a:pt x="415" y="137"/>
                  </a:cubicBezTo>
                  <a:cubicBezTo>
                    <a:pt x="409" y="137"/>
                    <a:pt x="405" y="137"/>
                    <a:pt x="399" y="137"/>
                  </a:cubicBezTo>
                  <a:cubicBezTo>
                    <a:pt x="403" y="147"/>
                    <a:pt x="411" y="150"/>
                    <a:pt x="420" y="154"/>
                  </a:cubicBezTo>
                  <a:cubicBezTo>
                    <a:pt x="414" y="158"/>
                    <a:pt x="409" y="161"/>
                    <a:pt x="403" y="164"/>
                  </a:cubicBezTo>
                  <a:cubicBezTo>
                    <a:pt x="404" y="164"/>
                    <a:pt x="405" y="164"/>
                    <a:pt x="406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4" name="Freeform 20">
              <a:extLst>
                <a:ext uri="{FF2B5EF4-FFF2-40B4-BE49-F238E27FC236}">
                  <a16:creationId xmlns:a16="http://schemas.microsoft.com/office/drawing/2014/main" id="{DC44A2DC-B9FD-4026-8055-2B0916B93F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4925" y="5060950"/>
              <a:ext cx="157163" cy="169863"/>
            </a:xfrm>
            <a:custGeom>
              <a:avLst/>
              <a:gdLst>
                <a:gd name="T0" fmla="*/ 40 w 94"/>
                <a:gd name="T1" fmla="*/ 83 h 101"/>
                <a:gd name="T2" fmla="*/ 67 w 94"/>
                <a:gd name="T3" fmla="*/ 92 h 101"/>
                <a:gd name="T4" fmla="*/ 3 w 94"/>
                <a:gd name="T5" fmla="*/ 83 h 101"/>
                <a:gd name="T6" fmla="*/ 38 w 94"/>
                <a:gd name="T7" fmla="*/ 78 h 101"/>
                <a:gd name="T8" fmla="*/ 6 w 94"/>
                <a:gd name="T9" fmla="*/ 36 h 101"/>
                <a:gd name="T10" fmla="*/ 53 w 94"/>
                <a:gd name="T11" fmla="*/ 2 h 101"/>
                <a:gd name="T12" fmla="*/ 85 w 94"/>
                <a:gd name="T13" fmla="*/ 50 h 101"/>
                <a:gd name="T14" fmla="*/ 40 w 94"/>
                <a:gd name="T15" fmla="*/ 83 h 101"/>
                <a:gd name="T16" fmla="*/ 40 w 94"/>
                <a:gd name="T17" fmla="*/ 83 h 101"/>
                <a:gd name="T18" fmla="*/ 70 w 94"/>
                <a:gd name="T19" fmla="*/ 41 h 101"/>
                <a:gd name="T20" fmla="*/ 21 w 94"/>
                <a:gd name="T21" fmla="*/ 35 h 101"/>
                <a:gd name="T22" fmla="*/ 43 w 94"/>
                <a:gd name="T23" fmla="*/ 31 h 101"/>
                <a:gd name="T24" fmla="*/ 70 w 94"/>
                <a:gd name="T25" fmla="*/ 41 h 101"/>
                <a:gd name="T26" fmla="*/ 70 w 94"/>
                <a:gd name="T27" fmla="*/ 41 h 101"/>
                <a:gd name="T28" fmla="*/ 12 w 94"/>
                <a:gd name="T29" fmla="*/ 34 h 101"/>
                <a:gd name="T30" fmla="*/ 20 w 94"/>
                <a:gd name="T31" fmla="*/ 45 h 101"/>
                <a:gd name="T32" fmla="*/ 12 w 94"/>
                <a:gd name="T33" fmla="*/ 34 h 101"/>
                <a:gd name="T34" fmla="*/ 12 w 94"/>
                <a:gd name="T35" fmla="*/ 34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101">
                  <a:moveTo>
                    <a:pt x="40" y="83"/>
                  </a:moveTo>
                  <a:cubicBezTo>
                    <a:pt x="49" y="86"/>
                    <a:pt x="58" y="89"/>
                    <a:pt x="67" y="92"/>
                  </a:cubicBezTo>
                  <a:cubicBezTo>
                    <a:pt x="49" y="101"/>
                    <a:pt x="18" y="97"/>
                    <a:pt x="3" y="83"/>
                  </a:cubicBezTo>
                  <a:cubicBezTo>
                    <a:pt x="16" y="83"/>
                    <a:pt x="26" y="84"/>
                    <a:pt x="38" y="78"/>
                  </a:cubicBezTo>
                  <a:cubicBezTo>
                    <a:pt x="24" y="61"/>
                    <a:pt x="11" y="61"/>
                    <a:pt x="6" y="36"/>
                  </a:cubicBezTo>
                  <a:cubicBezTo>
                    <a:pt x="0" y="2"/>
                    <a:pt x="29" y="0"/>
                    <a:pt x="53" y="2"/>
                  </a:cubicBezTo>
                  <a:cubicBezTo>
                    <a:pt x="82" y="5"/>
                    <a:pt x="94" y="21"/>
                    <a:pt x="85" y="50"/>
                  </a:cubicBezTo>
                  <a:cubicBezTo>
                    <a:pt x="79" y="67"/>
                    <a:pt x="40" y="73"/>
                    <a:pt x="40" y="83"/>
                  </a:cubicBezTo>
                  <a:cubicBezTo>
                    <a:pt x="49" y="86"/>
                    <a:pt x="40" y="81"/>
                    <a:pt x="40" y="83"/>
                  </a:cubicBezTo>
                  <a:close/>
                  <a:moveTo>
                    <a:pt x="70" y="41"/>
                  </a:moveTo>
                  <a:cubicBezTo>
                    <a:pt x="69" y="19"/>
                    <a:pt x="30" y="21"/>
                    <a:pt x="21" y="35"/>
                  </a:cubicBezTo>
                  <a:cubicBezTo>
                    <a:pt x="30" y="43"/>
                    <a:pt x="34" y="33"/>
                    <a:pt x="43" y="31"/>
                  </a:cubicBezTo>
                  <a:cubicBezTo>
                    <a:pt x="53" y="29"/>
                    <a:pt x="62" y="36"/>
                    <a:pt x="70" y="41"/>
                  </a:cubicBezTo>
                  <a:cubicBezTo>
                    <a:pt x="70" y="34"/>
                    <a:pt x="66" y="39"/>
                    <a:pt x="70" y="41"/>
                  </a:cubicBezTo>
                  <a:close/>
                  <a:moveTo>
                    <a:pt x="12" y="34"/>
                  </a:moveTo>
                  <a:cubicBezTo>
                    <a:pt x="2" y="39"/>
                    <a:pt x="16" y="45"/>
                    <a:pt x="20" y="45"/>
                  </a:cubicBezTo>
                  <a:cubicBezTo>
                    <a:pt x="20" y="40"/>
                    <a:pt x="17" y="36"/>
                    <a:pt x="12" y="34"/>
                  </a:cubicBezTo>
                  <a:cubicBezTo>
                    <a:pt x="11" y="34"/>
                    <a:pt x="14" y="36"/>
                    <a:pt x="12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5" name="Freeform 21">
              <a:extLst>
                <a:ext uri="{FF2B5EF4-FFF2-40B4-BE49-F238E27FC236}">
                  <a16:creationId xmlns:a16="http://schemas.microsoft.com/office/drawing/2014/main" id="{479666CE-BD8B-4B68-8041-8FAF2C788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88" y="5060950"/>
              <a:ext cx="49213" cy="90488"/>
            </a:xfrm>
            <a:custGeom>
              <a:avLst/>
              <a:gdLst>
                <a:gd name="T0" fmla="*/ 28 w 29"/>
                <a:gd name="T1" fmla="*/ 54 h 54"/>
                <a:gd name="T2" fmla="*/ 11 w 29"/>
                <a:gd name="T3" fmla="*/ 11 h 54"/>
                <a:gd name="T4" fmla="*/ 28 w 29"/>
                <a:gd name="T5" fmla="*/ 54 h 54"/>
                <a:gd name="T6" fmla="*/ 28 w 29"/>
                <a:gd name="T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54">
                  <a:moveTo>
                    <a:pt x="28" y="54"/>
                  </a:moveTo>
                  <a:cubicBezTo>
                    <a:pt x="23" y="46"/>
                    <a:pt x="0" y="18"/>
                    <a:pt x="11" y="11"/>
                  </a:cubicBezTo>
                  <a:cubicBezTo>
                    <a:pt x="29" y="0"/>
                    <a:pt x="29" y="54"/>
                    <a:pt x="28" y="54"/>
                  </a:cubicBezTo>
                  <a:cubicBezTo>
                    <a:pt x="21" y="43"/>
                    <a:pt x="28" y="54"/>
                    <a:pt x="2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AE1F7492-1B40-4F3F-A8BC-3778E5A7F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7963" y="5122863"/>
              <a:ext cx="36513" cy="61913"/>
            </a:xfrm>
            <a:custGeom>
              <a:avLst/>
              <a:gdLst>
                <a:gd name="T0" fmla="*/ 0 w 22"/>
                <a:gd name="T1" fmla="*/ 37 h 37"/>
                <a:gd name="T2" fmla="*/ 21 w 22"/>
                <a:gd name="T3" fmla="*/ 0 h 37"/>
                <a:gd name="T4" fmla="*/ 0 w 22"/>
                <a:gd name="T5" fmla="*/ 37 h 37"/>
                <a:gd name="T6" fmla="*/ 0 w 22"/>
                <a:gd name="T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37">
                  <a:moveTo>
                    <a:pt x="0" y="37"/>
                  </a:moveTo>
                  <a:cubicBezTo>
                    <a:pt x="5" y="22"/>
                    <a:pt x="7" y="8"/>
                    <a:pt x="21" y="0"/>
                  </a:cubicBezTo>
                  <a:cubicBezTo>
                    <a:pt x="22" y="16"/>
                    <a:pt x="10" y="25"/>
                    <a:pt x="0" y="37"/>
                  </a:cubicBezTo>
                  <a:cubicBezTo>
                    <a:pt x="4" y="25"/>
                    <a:pt x="8" y="27"/>
                    <a:pt x="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57" name="Freeform 30">
            <a:extLst>
              <a:ext uri="{FF2B5EF4-FFF2-40B4-BE49-F238E27FC236}">
                <a16:creationId xmlns:a16="http://schemas.microsoft.com/office/drawing/2014/main" id="{1A0BC218-6C1D-490D-95AE-D5E20485A555}"/>
              </a:ext>
            </a:extLst>
          </p:cNvPr>
          <p:cNvSpPr>
            <a:spLocks noEditPoints="1"/>
          </p:cNvSpPr>
          <p:nvPr/>
        </p:nvSpPr>
        <p:spPr bwMode="black">
          <a:xfrm>
            <a:off x="5684595" y="4993301"/>
            <a:ext cx="1351482" cy="1351131"/>
          </a:xfrm>
          <a:custGeom>
            <a:avLst/>
            <a:gdLst>
              <a:gd name="T0" fmla="*/ 0 w 300"/>
              <a:gd name="T1" fmla="*/ 150 h 300"/>
              <a:gd name="T2" fmla="*/ 300 w 300"/>
              <a:gd name="T3" fmla="*/ 150 h 300"/>
              <a:gd name="T4" fmla="*/ 217 w 300"/>
              <a:gd name="T5" fmla="*/ 258 h 300"/>
              <a:gd name="T6" fmla="*/ 207 w 300"/>
              <a:gd name="T7" fmla="*/ 256 h 300"/>
              <a:gd name="T8" fmla="*/ 154 w 300"/>
              <a:gd name="T9" fmla="*/ 277 h 300"/>
              <a:gd name="T10" fmla="*/ 146 w 300"/>
              <a:gd name="T11" fmla="*/ 255 h 300"/>
              <a:gd name="T12" fmla="*/ 89 w 300"/>
              <a:gd name="T13" fmla="*/ 262 h 300"/>
              <a:gd name="T14" fmla="*/ 87 w 300"/>
              <a:gd name="T15" fmla="*/ 252 h 300"/>
              <a:gd name="T16" fmla="*/ 41 w 300"/>
              <a:gd name="T17" fmla="*/ 217 h 300"/>
              <a:gd name="T18" fmla="*/ 44 w 300"/>
              <a:gd name="T19" fmla="*/ 206 h 300"/>
              <a:gd name="T20" fmla="*/ 22 w 300"/>
              <a:gd name="T21" fmla="*/ 153 h 300"/>
              <a:gd name="T22" fmla="*/ 51 w 300"/>
              <a:gd name="T23" fmla="*/ 146 h 300"/>
              <a:gd name="T24" fmla="*/ 38 w 300"/>
              <a:gd name="T25" fmla="*/ 89 h 300"/>
              <a:gd name="T26" fmla="*/ 48 w 300"/>
              <a:gd name="T27" fmla="*/ 86 h 300"/>
              <a:gd name="T28" fmla="*/ 83 w 300"/>
              <a:gd name="T29" fmla="*/ 41 h 300"/>
              <a:gd name="T30" fmla="*/ 93 w 300"/>
              <a:gd name="T31" fmla="*/ 44 h 300"/>
              <a:gd name="T32" fmla="*/ 146 w 300"/>
              <a:gd name="T33" fmla="*/ 22 h 300"/>
              <a:gd name="T34" fmla="*/ 154 w 300"/>
              <a:gd name="T35" fmla="*/ 45 h 300"/>
              <a:gd name="T36" fmla="*/ 210 w 300"/>
              <a:gd name="T37" fmla="*/ 37 h 300"/>
              <a:gd name="T38" fmla="*/ 213 w 300"/>
              <a:gd name="T39" fmla="*/ 48 h 300"/>
              <a:gd name="T40" fmla="*/ 258 w 300"/>
              <a:gd name="T41" fmla="*/ 83 h 300"/>
              <a:gd name="T42" fmla="*/ 256 w 300"/>
              <a:gd name="T43" fmla="*/ 93 h 300"/>
              <a:gd name="T44" fmla="*/ 277 w 300"/>
              <a:gd name="T45" fmla="*/ 146 h 300"/>
              <a:gd name="T46" fmla="*/ 255 w 300"/>
              <a:gd name="T47" fmla="*/ 153 h 300"/>
              <a:gd name="T48" fmla="*/ 262 w 300"/>
              <a:gd name="T49" fmla="*/ 210 h 300"/>
              <a:gd name="T50" fmla="*/ 252 w 300"/>
              <a:gd name="T51" fmla="*/ 213 h 300"/>
              <a:gd name="T52" fmla="*/ 217 w 300"/>
              <a:gd name="T53" fmla="*/ 258 h 300"/>
              <a:gd name="T54" fmla="*/ 141 w 300"/>
              <a:gd name="T55" fmla="*/ 158 h 300"/>
              <a:gd name="T56" fmla="*/ 158 w 300"/>
              <a:gd name="T57" fmla="*/ 141 h 300"/>
              <a:gd name="T58" fmla="*/ 211 w 300"/>
              <a:gd name="T59" fmla="*/ 88 h 300"/>
              <a:gd name="T60" fmla="*/ 125 w 300"/>
              <a:gd name="T61" fmla="*/ 132 h 300"/>
              <a:gd name="T62" fmla="*/ 168 w 300"/>
              <a:gd name="T63" fmla="*/ 174 h 300"/>
              <a:gd name="T64" fmla="*/ 211 w 300"/>
              <a:gd name="T65" fmla="*/ 88 h 300"/>
              <a:gd name="T66" fmla="*/ 135 w 300"/>
              <a:gd name="T67" fmla="*/ 135 h 300"/>
              <a:gd name="T68" fmla="*/ 165 w 300"/>
              <a:gd name="T69" fmla="*/ 165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0" h="300">
                <a:moveTo>
                  <a:pt x="150" y="0"/>
                </a:moveTo>
                <a:cubicBezTo>
                  <a:pt x="67" y="0"/>
                  <a:pt x="0" y="67"/>
                  <a:pt x="0" y="150"/>
                </a:cubicBezTo>
                <a:cubicBezTo>
                  <a:pt x="0" y="233"/>
                  <a:pt x="67" y="300"/>
                  <a:pt x="150" y="300"/>
                </a:cubicBezTo>
                <a:cubicBezTo>
                  <a:pt x="233" y="300"/>
                  <a:pt x="300" y="233"/>
                  <a:pt x="300" y="150"/>
                </a:cubicBezTo>
                <a:cubicBezTo>
                  <a:pt x="300" y="67"/>
                  <a:pt x="233" y="0"/>
                  <a:pt x="150" y="0"/>
                </a:cubicBezTo>
                <a:close/>
                <a:moveTo>
                  <a:pt x="217" y="258"/>
                </a:moveTo>
                <a:cubicBezTo>
                  <a:pt x="213" y="252"/>
                  <a:pt x="213" y="252"/>
                  <a:pt x="213" y="252"/>
                </a:cubicBezTo>
                <a:cubicBezTo>
                  <a:pt x="207" y="256"/>
                  <a:pt x="207" y="256"/>
                  <a:pt x="207" y="256"/>
                </a:cubicBezTo>
                <a:cubicBezTo>
                  <a:pt x="210" y="262"/>
                  <a:pt x="210" y="262"/>
                  <a:pt x="210" y="262"/>
                </a:cubicBezTo>
                <a:cubicBezTo>
                  <a:pt x="193" y="271"/>
                  <a:pt x="174" y="276"/>
                  <a:pt x="154" y="277"/>
                </a:cubicBezTo>
                <a:cubicBezTo>
                  <a:pt x="154" y="255"/>
                  <a:pt x="154" y="255"/>
                  <a:pt x="154" y="255"/>
                </a:cubicBezTo>
                <a:cubicBezTo>
                  <a:pt x="146" y="255"/>
                  <a:pt x="146" y="255"/>
                  <a:pt x="146" y="255"/>
                </a:cubicBezTo>
                <a:cubicBezTo>
                  <a:pt x="146" y="277"/>
                  <a:pt x="146" y="277"/>
                  <a:pt x="146" y="277"/>
                </a:cubicBezTo>
                <a:cubicBezTo>
                  <a:pt x="126" y="276"/>
                  <a:pt x="106" y="271"/>
                  <a:pt x="89" y="262"/>
                </a:cubicBezTo>
                <a:cubicBezTo>
                  <a:pt x="93" y="256"/>
                  <a:pt x="93" y="256"/>
                  <a:pt x="93" y="256"/>
                </a:cubicBezTo>
                <a:cubicBezTo>
                  <a:pt x="87" y="252"/>
                  <a:pt x="87" y="252"/>
                  <a:pt x="87" y="252"/>
                </a:cubicBezTo>
                <a:cubicBezTo>
                  <a:pt x="83" y="258"/>
                  <a:pt x="83" y="258"/>
                  <a:pt x="83" y="258"/>
                </a:cubicBezTo>
                <a:cubicBezTo>
                  <a:pt x="66" y="248"/>
                  <a:pt x="52" y="233"/>
                  <a:pt x="41" y="217"/>
                </a:cubicBezTo>
                <a:cubicBezTo>
                  <a:pt x="48" y="213"/>
                  <a:pt x="48" y="213"/>
                  <a:pt x="48" y="213"/>
                </a:cubicBezTo>
                <a:cubicBezTo>
                  <a:pt x="44" y="206"/>
                  <a:pt x="44" y="206"/>
                  <a:pt x="44" y="206"/>
                </a:cubicBezTo>
                <a:cubicBezTo>
                  <a:pt x="38" y="210"/>
                  <a:pt x="38" y="210"/>
                  <a:pt x="38" y="210"/>
                </a:cubicBezTo>
                <a:cubicBezTo>
                  <a:pt x="28" y="193"/>
                  <a:pt x="23" y="174"/>
                  <a:pt x="22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46"/>
                  <a:pt x="51" y="146"/>
                  <a:pt x="51" y="146"/>
                </a:cubicBezTo>
                <a:cubicBezTo>
                  <a:pt x="22" y="146"/>
                  <a:pt x="22" y="146"/>
                  <a:pt x="22" y="146"/>
                </a:cubicBezTo>
                <a:cubicBezTo>
                  <a:pt x="23" y="125"/>
                  <a:pt x="28" y="106"/>
                  <a:pt x="38" y="89"/>
                </a:cubicBezTo>
                <a:cubicBezTo>
                  <a:pt x="44" y="93"/>
                  <a:pt x="44" y="93"/>
                  <a:pt x="44" y="93"/>
                </a:cubicBezTo>
                <a:cubicBezTo>
                  <a:pt x="48" y="86"/>
                  <a:pt x="48" y="86"/>
                  <a:pt x="48" y="86"/>
                </a:cubicBezTo>
                <a:cubicBezTo>
                  <a:pt x="41" y="83"/>
                  <a:pt x="41" y="83"/>
                  <a:pt x="41" y="83"/>
                </a:cubicBezTo>
                <a:cubicBezTo>
                  <a:pt x="52" y="66"/>
                  <a:pt x="66" y="52"/>
                  <a:pt x="83" y="41"/>
                </a:cubicBezTo>
                <a:cubicBezTo>
                  <a:pt x="87" y="48"/>
                  <a:pt x="87" y="48"/>
                  <a:pt x="87" y="48"/>
                </a:cubicBezTo>
                <a:cubicBezTo>
                  <a:pt x="93" y="44"/>
                  <a:pt x="93" y="44"/>
                  <a:pt x="93" y="44"/>
                </a:cubicBezTo>
                <a:cubicBezTo>
                  <a:pt x="89" y="37"/>
                  <a:pt x="89" y="37"/>
                  <a:pt x="89" y="37"/>
                </a:cubicBezTo>
                <a:cubicBezTo>
                  <a:pt x="106" y="28"/>
                  <a:pt x="126" y="23"/>
                  <a:pt x="146" y="22"/>
                </a:cubicBezTo>
                <a:cubicBezTo>
                  <a:pt x="146" y="45"/>
                  <a:pt x="146" y="45"/>
                  <a:pt x="146" y="45"/>
                </a:cubicBezTo>
                <a:cubicBezTo>
                  <a:pt x="154" y="45"/>
                  <a:pt x="154" y="45"/>
                  <a:pt x="154" y="45"/>
                </a:cubicBezTo>
                <a:cubicBezTo>
                  <a:pt x="154" y="22"/>
                  <a:pt x="154" y="22"/>
                  <a:pt x="154" y="22"/>
                </a:cubicBezTo>
                <a:cubicBezTo>
                  <a:pt x="174" y="23"/>
                  <a:pt x="193" y="28"/>
                  <a:pt x="210" y="37"/>
                </a:cubicBezTo>
                <a:cubicBezTo>
                  <a:pt x="207" y="44"/>
                  <a:pt x="207" y="44"/>
                  <a:pt x="207" y="44"/>
                </a:cubicBezTo>
                <a:cubicBezTo>
                  <a:pt x="213" y="48"/>
                  <a:pt x="213" y="48"/>
                  <a:pt x="213" y="48"/>
                </a:cubicBezTo>
                <a:cubicBezTo>
                  <a:pt x="217" y="41"/>
                  <a:pt x="217" y="41"/>
                  <a:pt x="217" y="41"/>
                </a:cubicBezTo>
                <a:cubicBezTo>
                  <a:pt x="234" y="52"/>
                  <a:pt x="248" y="66"/>
                  <a:pt x="258" y="83"/>
                </a:cubicBezTo>
                <a:cubicBezTo>
                  <a:pt x="252" y="86"/>
                  <a:pt x="252" y="86"/>
                  <a:pt x="252" y="86"/>
                </a:cubicBezTo>
                <a:cubicBezTo>
                  <a:pt x="256" y="93"/>
                  <a:pt x="256" y="93"/>
                  <a:pt x="256" y="93"/>
                </a:cubicBezTo>
                <a:cubicBezTo>
                  <a:pt x="262" y="89"/>
                  <a:pt x="262" y="89"/>
                  <a:pt x="262" y="89"/>
                </a:cubicBezTo>
                <a:cubicBezTo>
                  <a:pt x="271" y="106"/>
                  <a:pt x="277" y="125"/>
                  <a:pt x="277" y="146"/>
                </a:cubicBezTo>
                <a:cubicBezTo>
                  <a:pt x="255" y="146"/>
                  <a:pt x="255" y="146"/>
                  <a:pt x="255" y="146"/>
                </a:cubicBezTo>
                <a:cubicBezTo>
                  <a:pt x="255" y="153"/>
                  <a:pt x="255" y="153"/>
                  <a:pt x="255" y="153"/>
                </a:cubicBezTo>
                <a:cubicBezTo>
                  <a:pt x="277" y="153"/>
                  <a:pt x="277" y="153"/>
                  <a:pt x="277" y="153"/>
                </a:cubicBezTo>
                <a:cubicBezTo>
                  <a:pt x="276" y="174"/>
                  <a:pt x="271" y="193"/>
                  <a:pt x="262" y="210"/>
                </a:cubicBezTo>
                <a:cubicBezTo>
                  <a:pt x="256" y="206"/>
                  <a:pt x="256" y="206"/>
                  <a:pt x="256" y="206"/>
                </a:cubicBezTo>
                <a:cubicBezTo>
                  <a:pt x="252" y="213"/>
                  <a:pt x="252" y="213"/>
                  <a:pt x="252" y="213"/>
                </a:cubicBezTo>
                <a:cubicBezTo>
                  <a:pt x="258" y="217"/>
                  <a:pt x="258" y="217"/>
                  <a:pt x="258" y="217"/>
                </a:cubicBezTo>
                <a:cubicBezTo>
                  <a:pt x="248" y="233"/>
                  <a:pt x="234" y="248"/>
                  <a:pt x="217" y="258"/>
                </a:cubicBezTo>
                <a:close/>
                <a:moveTo>
                  <a:pt x="158" y="158"/>
                </a:moveTo>
                <a:cubicBezTo>
                  <a:pt x="154" y="163"/>
                  <a:pt x="146" y="163"/>
                  <a:pt x="141" y="158"/>
                </a:cubicBezTo>
                <a:cubicBezTo>
                  <a:pt x="137" y="154"/>
                  <a:pt x="137" y="146"/>
                  <a:pt x="141" y="141"/>
                </a:cubicBezTo>
                <a:cubicBezTo>
                  <a:pt x="146" y="137"/>
                  <a:pt x="154" y="137"/>
                  <a:pt x="158" y="141"/>
                </a:cubicBezTo>
                <a:cubicBezTo>
                  <a:pt x="163" y="146"/>
                  <a:pt x="163" y="154"/>
                  <a:pt x="158" y="158"/>
                </a:cubicBezTo>
                <a:close/>
                <a:moveTo>
                  <a:pt x="211" y="88"/>
                </a:moveTo>
                <a:cubicBezTo>
                  <a:pt x="134" y="123"/>
                  <a:pt x="134" y="123"/>
                  <a:pt x="134" y="123"/>
                </a:cubicBezTo>
                <a:cubicBezTo>
                  <a:pt x="125" y="132"/>
                  <a:pt x="125" y="132"/>
                  <a:pt x="125" y="132"/>
                </a:cubicBezTo>
                <a:cubicBezTo>
                  <a:pt x="88" y="211"/>
                  <a:pt x="88" y="211"/>
                  <a:pt x="88" y="211"/>
                </a:cubicBezTo>
                <a:cubicBezTo>
                  <a:pt x="168" y="174"/>
                  <a:pt x="168" y="174"/>
                  <a:pt x="168" y="174"/>
                </a:cubicBezTo>
                <a:cubicBezTo>
                  <a:pt x="176" y="166"/>
                  <a:pt x="176" y="166"/>
                  <a:pt x="176" y="166"/>
                </a:cubicBezTo>
                <a:lnTo>
                  <a:pt x="211" y="88"/>
                </a:lnTo>
                <a:close/>
                <a:moveTo>
                  <a:pt x="135" y="165"/>
                </a:moveTo>
                <a:cubicBezTo>
                  <a:pt x="127" y="156"/>
                  <a:pt x="127" y="143"/>
                  <a:pt x="135" y="135"/>
                </a:cubicBezTo>
                <a:cubicBezTo>
                  <a:pt x="143" y="127"/>
                  <a:pt x="156" y="127"/>
                  <a:pt x="165" y="135"/>
                </a:cubicBezTo>
                <a:cubicBezTo>
                  <a:pt x="173" y="143"/>
                  <a:pt x="173" y="156"/>
                  <a:pt x="165" y="165"/>
                </a:cubicBezTo>
                <a:cubicBezTo>
                  <a:pt x="156" y="173"/>
                  <a:pt x="143" y="173"/>
                  <a:pt x="135" y="16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687" tIns="40344" rIns="80687" bIns="403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68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563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83B72D3E-2A2E-4D23-A4B9-114FB1602B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how</a:t>
            </a:r>
          </a:p>
          <a:p>
            <a:r>
              <a:rPr lang="en-US" dirty="0"/>
              <a:t>Don’t tell</a:t>
            </a:r>
          </a:p>
          <a:p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B885330-14D6-4606-9BB0-F110A27D5E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703854E-65B7-423D-BA2F-EBC42DBDE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dirty="0"/>
            </a:br>
            <a:r>
              <a:rPr lang="en-US" dirty="0"/>
              <a:t>Prove it!</a:t>
            </a:r>
            <a:br>
              <a:rPr lang="en-US" dirty="0"/>
            </a:br>
            <a:endParaRPr lang="nl-NL" dirty="0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86F744A4-B468-4E20-A5F5-7E4C8E90A2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8161B4CE-E4D2-4306-BA81-0042EA197E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1704" y="1"/>
            <a:ext cx="8860519" cy="689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142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gemini Master">
  <a:themeElements>
    <a:clrScheme name="Personnalisé 1">
      <a:dk1>
        <a:sysClr val="windowText" lastClr="000000"/>
      </a:dk1>
      <a:lt1>
        <a:srgbClr val="FFFFFF"/>
      </a:lt1>
      <a:dk2>
        <a:srgbClr val="2B143D"/>
      </a:dk2>
      <a:lt2>
        <a:srgbClr val="ECECEC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5CD0F2CD-C149-47AE-9000-EEF59CE5E48D}"/>
    </a:ext>
  </a:extLst>
</a:theme>
</file>

<file path=ppt/theme/theme2.xml><?xml version="1.0" encoding="utf-8"?>
<a:theme xmlns:a="http://schemas.openxmlformats.org/drawingml/2006/main" name="Section break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-template.potx" id="{23A5B85C-F9EE-4523-9FF0-24A1D6C76194}" vid="{DE8F4A0B-9F16-4844-BE61-471FEF40F3D8}"/>
    </a:ext>
  </a:extLst>
</a:theme>
</file>

<file path=ppt/theme/theme3.xml><?xml version="1.0" encoding="utf-8"?>
<a:theme xmlns:a="http://schemas.openxmlformats.org/drawingml/2006/main" name="Tema do Offic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apgemini Palette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0070AD"/>
      </a:accent1>
      <a:accent2>
        <a:srgbClr val="12ABDB"/>
      </a:accent2>
      <a:accent3>
        <a:srgbClr val="2B143D"/>
      </a:accent3>
      <a:accent4>
        <a:srgbClr val="FF304C"/>
      </a:accent4>
      <a:accent5>
        <a:srgbClr val="95E616"/>
      </a:accent5>
      <a:accent6>
        <a:srgbClr val="00C37B"/>
      </a:accent6>
      <a:hlink>
        <a:srgbClr val="88D5ED"/>
      </a:hlink>
      <a:folHlink>
        <a:srgbClr val="7E39BA"/>
      </a:folHlink>
    </a:clrScheme>
    <a:fontScheme name="Capgemini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6AE9112D91C04BB72D2C10DE6EF696" ma:contentTypeVersion="8" ma:contentTypeDescription="Een nieuw document maken." ma:contentTypeScope="" ma:versionID="303a336a210b370064764b315e7aac80">
  <xsd:schema xmlns:xsd="http://www.w3.org/2001/XMLSchema" xmlns:xs="http://www.w3.org/2001/XMLSchema" xmlns:p="http://schemas.microsoft.com/office/2006/metadata/properties" xmlns:ns3="ab877c8e-8552-4266-9dc9-d66b061aa46e" targetNamespace="http://schemas.microsoft.com/office/2006/metadata/properties" ma:root="true" ma:fieldsID="0a04dd4828d4bbb5a418b98df7d84e78" ns3:_="">
    <xsd:import namespace="ab877c8e-8552-4266-9dc9-d66b061aa46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877c8e-8552-4266-9dc9-d66b061aa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2FA36C-2241-4897-BCAD-7E1BD715C22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B216F5D-BE9A-4845-BF78-E5C7425B49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D6E28C-6EF6-4635-96A8-3B352B073D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877c8e-8552-4266-9dc9-d66b061aa4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-template</Template>
  <TotalTime>507</TotalTime>
  <Words>1206</Words>
  <Application>Microsoft Macintosh PowerPoint</Application>
  <PresentationFormat>Widescreen</PresentationFormat>
  <Paragraphs>283</Paragraphs>
  <Slides>45</Slides>
  <Notes>17</Notes>
  <HiddenSlides>17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8" baseType="lpstr">
      <vt:lpstr>Arial</vt:lpstr>
      <vt:lpstr>Arial Black</vt:lpstr>
      <vt:lpstr>Consolas</vt:lpstr>
      <vt:lpstr>Segoe Light</vt:lpstr>
      <vt:lpstr>Segoe UI</vt:lpstr>
      <vt:lpstr>Segoe UI Light</vt:lpstr>
      <vt:lpstr>Segoe UI Semibold</vt:lpstr>
      <vt:lpstr>Verdana</vt:lpstr>
      <vt:lpstr>Verdana (Headings)</vt:lpstr>
      <vt:lpstr>Wingdings</vt:lpstr>
      <vt:lpstr>Capgemini Master</vt:lpstr>
      <vt:lpstr>Section break</vt:lpstr>
      <vt:lpstr>think-cell Slide</vt:lpstr>
      <vt:lpstr>Securing applications with DevOps</vt:lpstr>
      <vt:lpstr>PowerPoint Presentation</vt:lpstr>
      <vt:lpstr> The Security Conversation </vt:lpstr>
      <vt:lpstr>PowerPoint Presentation</vt:lpstr>
      <vt:lpstr>PowerPoint Presentation</vt:lpstr>
      <vt:lpstr> Cloud Mindset </vt:lpstr>
      <vt:lpstr>Show, don’t tell</vt:lpstr>
      <vt:lpstr> What is Red vs. Blue? </vt:lpstr>
      <vt:lpstr> Prove it! </vt:lpstr>
      <vt:lpstr> Every time someone viewed the dashboard… </vt:lpstr>
      <vt:lpstr> Sample Guidelines </vt:lpstr>
      <vt:lpstr>Sample Attacks</vt:lpstr>
      <vt:lpstr>PowerPoint Presentation</vt:lpstr>
      <vt:lpstr>Example: Red Team Attack</vt:lpstr>
      <vt:lpstr>Example: Red Team Attack</vt:lpstr>
      <vt:lpstr>Example: Red Team Attack</vt:lpstr>
      <vt:lpstr>Example: Phishing to get credentials</vt:lpstr>
      <vt:lpstr>Example: Better phishing</vt:lpstr>
      <vt:lpstr>How to respond?</vt:lpstr>
      <vt:lpstr> Threat Modeling </vt:lpstr>
      <vt:lpstr> Defense in depth</vt:lpstr>
      <vt:lpstr>What does a Threat Model include?</vt:lpstr>
      <vt:lpstr>One pipeline to rule them all</vt:lpstr>
      <vt:lpstr>PowerPoint Presentation</vt:lpstr>
      <vt:lpstr>PowerPoint Presentation</vt:lpstr>
      <vt:lpstr>PowerPoint Presentation</vt:lpstr>
      <vt:lpstr> Desired State Configuration </vt:lpstr>
      <vt:lpstr> No secrets in code: Azure Key Vault</vt:lpstr>
      <vt:lpstr> Managed Identies </vt:lpstr>
      <vt:lpstr>Networking</vt:lpstr>
      <vt:lpstr>Assume breach</vt:lpstr>
      <vt:lpstr>PowerPoint Presentation</vt:lpstr>
      <vt:lpstr>PowerPoint Presentation</vt:lpstr>
      <vt:lpstr>PowerPoint Presentation</vt:lpstr>
      <vt:lpstr>Demo!</vt:lpstr>
      <vt:lpstr>GitHub</vt:lpstr>
      <vt:lpstr> Software Composition Analysis </vt:lpstr>
      <vt:lpstr> Open Source Introduces New Challenges </vt:lpstr>
      <vt:lpstr> Vulnerabilities by year </vt:lpstr>
      <vt:lpstr>PowerPoint Presentation</vt:lpstr>
      <vt:lpstr>PowerPoint Presentation</vt:lpstr>
      <vt:lpstr> Recap </vt:lpstr>
      <vt:lpstr>PowerPoint Presentation</vt:lpstr>
      <vt:lpstr>Thank you!  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uring applications with DevOps</dc:title>
  <dc:subject>ppt template</dc:subject>
  <dc:creator>Elise de Kort - van de Scheur</dc:creator>
  <cp:lastModifiedBy>Hans Moonen</cp:lastModifiedBy>
  <cp:revision>14</cp:revision>
  <dcterms:created xsi:type="dcterms:W3CDTF">2018-12-12T14:47:01Z</dcterms:created>
  <dcterms:modified xsi:type="dcterms:W3CDTF">2019-10-15T19:3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6AE9112D91C04BB72D2C10DE6EF696</vt:lpwstr>
  </property>
</Properties>
</file>